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4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1.xml" ContentType="application/vnd.openxmlformats-officedocument.presentationml.notesSlide+xml"/>
  <Override PartName="/ppt/tags/tag113.xml" ContentType="application/vnd.openxmlformats-officedocument.presentationml.tags+xml"/>
  <Override PartName="/ppt/notesSlides/notesSlide2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3.xml" ContentType="application/vnd.openxmlformats-officedocument.presentationml.notesSlide+xml"/>
  <Override PartName="/ppt/tags/tag116.xml" ContentType="application/vnd.openxmlformats-officedocument.presentationml.tags+xml"/>
  <Override PartName="/ppt/notesSlides/notesSlide4.xml" ContentType="application/vnd.openxmlformats-officedocument.presentationml.notesSlide+xml"/>
  <Override PartName="/ppt/tags/tag117.xml" ContentType="application/vnd.openxmlformats-officedocument.presentationml.tags+xml"/>
  <Override PartName="/ppt/notesSlides/notesSlide5.xml" ContentType="application/vnd.openxmlformats-officedocument.presentationml.notesSlide+xml"/>
  <Override PartName="/ppt/tags/tag118.xml" ContentType="application/vnd.openxmlformats-officedocument.presentationml.tags+xml"/>
  <Override PartName="/ppt/notesSlides/notesSlide6.xml" ContentType="application/vnd.openxmlformats-officedocument.presentationml.notesSlide+xml"/>
  <Override PartName="/ppt/tags/tag11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690" r:id="rId3"/>
  </p:sldMasterIdLst>
  <p:notesMasterIdLst>
    <p:notesMasterId r:id="rId16"/>
  </p:notesMasterIdLst>
  <p:sldIdLst>
    <p:sldId id="257" r:id="rId4"/>
    <p:sldId id="2147472347" r:id="rId5"/>
    <p:sldId id="2147472004" r:id="rId6"/>
    <p:sldId id="2147472005" r:id="rId7"/>
    <p:sldId id="2147472348" r:id="rId8"/>
    <p:sldId id="2147472346" r:id="rId9"/>
    <p:sldId id="2147472349" r:id="rId10"/>
    <p:sldId id="2147472351" r:id="rId11"/>
    <p:sldId id="2147472352" r:id="rId12"/>
    <p:sldId id="2147472350" r:id="rId13"/>
    <p:sldId id="2145706056" r:id="rId14"/>
    <p:sldId id="214746909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4660"/>
  </p:normalViewPr>
  <p:slideViewPr>
    <p:cSldViewPr snapToGrid="0">
      <p:cViewPr varScale="1">
        <p:scale>
          <a:sx n="62" d="100"/>
          <a:sy n="62" d="100"/>
        </p:scale>
        <p:origin x="75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377C4B-8684-47B7-ADA6-4D09175C0288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271702-0A6A-455C-9020-E748205290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998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DF6B2A-FBCA-4E66-B7C8-75BC6D4ACE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009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DF6B2A-FBCA-4E66-B7C8-75BC6D4ACE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2116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E1314-4402-0243-8162-1BA39375647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2988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DF6B2A-FBCA-4E66-B7C8-75BC6D4ACE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51018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DF6B2A-FBCA-4E66-B7C8-75BC6D4ACE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73134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DF6B2A-FBCA-4E66-B7C8-75BC6D4ACE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61588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2 January 20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41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86.xml"/><Relationship Id="rId7" Type="http://schemas.openxmlformats.org/officeDocument/2006/relationships/image" Target="../media/image13.jpeg"/><Relationship Id="rId2" Type="http://schemas.openxmlformats.org/officeDocument/2006/relationships/tags" Target="../tags/tag8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21.emf"/><Relationship Id="rId2" Type="http://schemas.openxmlformats.org/officeDocument/2006/relationships/tags" Target="../tags/tag9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3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10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01.xml"/><Relationship Id="rId9" Type="http://schemas.openxmlformats.org/officeDocument/2006/relationships/tags" Target="../tags/tag10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wmf"/><Relationship Id="rId2" Type="http://schemas.openxmlformats.org/officeDocument/2006/relationships/image" Target="../media/image27.w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80917" y="1"/>
            <a:ext cx="6211083" cy="6858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611" y="1904948"/>
            <a:ext cx="5371065" cy="2400235"/>
          </a:xfrm>
        </p:spPr>
        <p:txBody>
          <a:bodyPr rIns="216000" anchor="ctr" anchorCtr="0"/>
          <a:lstStyle>
            <a:lvl1pPr algn="l">
              <a:lnSpc>
                <a:spcPct val="80000"/>
              </a:lnSpc>
              <a:defRPr sz="7408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611" y="4800471"/>
            <a:ext cx="5371065" cy="562065"/>
          </a:xfrm>
        </p:spPr>
        <p:txBody>
          <a:bodyPr rIns="216000"/>
          <a:lstStyle>
            <a:lvl1pPr marL="0" indent="0" algn="l">
              <a:buNone/>
              <a:defRPr sz="1587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610" y="495618"/>
            <a:ext cx="2057313" cy="509277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5611" y="6095835"/>
            <a:ext cx="1638032" cy="380990"/>
          </a:xfrm>
        </p:spPr>
        <p:txBody>
          <a:bodyPr anchor="b" anchorCtr="0"/>
          <a:lstStyle>
            <a:lvl1pPr>
              <a:defRPr sz="794"/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CED49C62-4C22-4829-ACC8-9191840D3A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62127" y="6095835"/>
            <a:ext cx="1638032" cy="380990"/>
          </a:xfrm>
        </p:spPr>
        <p:txBody>
          <a:bodyPr anchor="b" anchorCtr="0"/>
          <a:lstStyle>
            <a:lvl1pPr>
              <a:defRPr sz="794"/>
            </a:lvl1pPr>
          </a:lstStyle>
          <a:p>
            <a:pPr lvl="0"/>
            <a:r>
              <a:rPr lang="de-DE"/>
              <a:t>Erste Ebene</a:t>
            </a:r>
          </a:p>
        </p:txBody>
      </p:sp>
    </p:spTree>
    <p:extLst>
      <p:ext uri="{BB962C8B-B14F-4D97-AF65-F5344CB8AC3E}">
        <p14:creationId xmlns:p14="http://schemas.microsoft.com/office/powerpoint/2010/main" val="27122354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610" y="-152396"/>
            <a:ext cx="1104853" cy="937345"/>
          </a:xfrm>
          <a:prstGeom prst="rect">
            <a:avLst/>
          </a:prstGeom>
        </p:spPr>
      </p:pic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A1DB0DDD-4B70-4A6A-9137-29788C24289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5610" y="1448211"/>
            <a:ext cx="10972295" cy="4534479"/>
          </a:xfrm>
        </p:spPr>
        <p:txBody>
          <a:bodyPr/>
          <a:lstStyle>
            <a:lvl1pPr>
              <a:lnSpc>
                <a:spcPct val="80000"/>
              </a:lnSpc>
              <a:spcAft>
                <a:spcPts val="2540"/>
              </a:spcAft>
              <a:defRPr sz="4974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95330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Key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BD1BC4-FEF0-4830-B116-C4AAB3BFE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62166" y="3733699"/>
            <a:ext cx="5867151" cy="2248991"/>
          </a:xfrm>
        </p:spPr>
        <p:txBody>
          <a:bodyPr/>
          <a:lstStyle>
            <a:lvl1pPr>
              <a:lnSpc>
                <a:spcPct val="80000"/>
              </a:lnSpc>
              <a:defRPr sz="4974">
                <a:solidFill>
                  <a:schemeClr val="tx1"/>
                </a:solidFill>
              </a:defRPr>
            </a:lvl1pPr>
            <a:lvl2pPr algn="r">
              <a:lnSpc>
                <a:spcPct val="80000"/>
              </a:lnSpc>
              <a:defRPr sz="4974">
                <a:solidFill>
                  <a:srgbClr val="13A0D3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9363350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Z Chapter 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371563"/>
            <a:ext cx="12801058" cy="2666928"/>
          </a:xfrm>
        </p:spPr>
        <p:txBody>
          <a:bodyPr rIns="216000" anchor="b" anchorCtr="0"/>
          <a:lstStyle>
            <a:lvl1pPr algn="r">
              <a:lnSpc>
                <a:spcPct val="80000"/>
              </a:lnSpc>
              <a:defRPr sz="20002"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581304"/>
            <a:ext cx="12801058" cy="3581884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20002">
                <a:solidFill>
                  <a:srgbClr val="13A0D3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61BDC56-BD94-4C43-90E8-CBB9A53F26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610" y="495618"/>
            <a:ext cx="2057313" cy="50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911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Z Chapter Divider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610" y="1790652"/>
            <a:ext cx="10972296" cy="1676355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9948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05925" y="3352709"/>
            <a:ext cx="716198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9948">
                <a:solidFill>
                  <a:srgbClr val="13A0D3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29874" y="495618"/>
            <a:ext cx="1638032" cy="1295034"/>
          </a:xfrm>
        </p:spPr>
        <p:txBody>
          <a:bodyPr anchor="t" anchorCtr="0"/>
          <a:lstStyle>
            <a:lvl1pPr algn="r">
              <a:lnSpc>
                <a:spcPct val="80000"/>
              </a:lnSpc>
              <a:defRPr sz="4974">
                <a:solidFill>
                  <a:srgbClr val="122B54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30324D-388D-4C97-AE26-194C8D2A9E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610" y="495618"/>
            <a:ext cx="2057313" cy="50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654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Z Chapter Divider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610" y="1790652"/>
            <a:ext cx="10972296" cy="1676355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9948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05925" y="3352709"/>
            <a:ext cx="716198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9948">
                <a:solidFill>
                  <a:schemeClr val="tx1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29874" y="495618"/>
            <a:ext cx="1638032" cy="1295034"/>
          </a:xfrm>
        </p:spPr>
        <p:txBody>
          <a:bodyPr anchor="t" anchorCtr="0"/>
          <a:lstStyle>
            <a:lvl1pPr algn="r">
              <a:lnSpc>
                <a:spcPct val="80000"/>
              </a:lnSpc>
              <a:defRPr sz="4974">
                <a:solidFill>
                  <a:srgbClr val="122B54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CFDCE14-724D-49F7-8BAD-435E83269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610" y="495618"/>
            <a:ext cx="2057313" cy="50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3797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612" y="2400805"/>
            <a:ext cx="3504548" cy="358188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28644" y="2400805"/>
            <a:ext cx="3506228" cy="358188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AC653B4F-70E3-43C6-9A6A-30D34B126E8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963357" y="2400235"/>
            <a:ext cx="3504549" cy="358188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0DA8F77-D054-4725-9E94-DAAB8C08F0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465743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28590" y="1790652"/>
            <a:ext cx="12420074" cy="1676355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12911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" y="3352709"/>
            <a:ext cx="12572467" cy="1676355"/>
          </a:xfrm>
        </p:spPr>
        <p:txBody>
          <a:bodyPr rIns="216000"/>
          <a:lstStyle>
            <a:lvl1pPr marL="0" indent="0" algn="r">
              <a:lnSpc>
                <a:spcPct val="80000"/>
              </a:lnSpc>
              <a:buNone/>
              <a:defRPr sz="12911">
                <a:solidFill>
                  <a:srgbClr val="13A0D3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forma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610" y="495618"/>
            <a:ext cx="2057313" cy="509277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5610" y="6095835"/>
            <a:ext cx="5485307" cy="380990"/>
          </a:xfrm>
        </p:spPr>
        <p:txBody>
          <a:bodyPr anchor="b" anchorCtr="0"/>
          <a:lstStyle>
            <a:lvl1pPr>
              <a:lnSpc>
                <a:spcPct val="100000"/>
              </a:lnSpc>
              <a:defRPr sz="1587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</p:spTree>
    <p:extLst>
      <p:ext uri="{BB962C8B-B14F-4D97-AF65-F5344CB8AC3E}">
        <p14:creationId xmlns:p14="http://schemas.microsoft.com/office/powerpoint/2010/main" val="30392451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715675"/>
              </p:ext>
            </p:extLst>
          </p:nvPr>
        </p:nvGraphicFramePr>
        <p:xfrm>
          <a:off x="2164" y="1628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4" y="1628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E495DA-C87D-490E-B258-3361610EAA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rgbClr val="C1EBF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>
            <a:spLocks/>
          </p:cNvSpPr>
          <p:nvPr userDrawn="1"/>
        </p:nvSpPr>
        <p:spPr bwMode="ltGray">
          <a:xfrm>
            <a:off x="7362196" y="0"/>
            <a:ext cx="4346079" cy="48381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143923" tIns="143923" rIns="143923" bIns="14392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33"/>
              </a:spcBef>
              <a:spcAft>
                <a:spcPts val="133"/>
              </a:spcAft>
            </a:pPr>
            <a:endParaRPr lang="en-US" sz="1866" dirty="0"/>
          </a:p>
        </p:txBody>
      </p:sp>
      <p:pic>
        <p:nvPicPr>
          <p:cNvPr id="15" name="Bildplatzhalter 6">
            <a:extLst>
              <a:ext uri="{FF2B5EF4-FFF2-40B4-BE49-F238E27FC236}">
                <a16:creationId xmlns:a16="http://schemas.microsoft.com/office/drawing/2014/main" id="{75D0FEDA-035E-4692-AB36-50141827C4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4323" y="0"/>
            <a:ext cx="7362195" cy="6858000"/>
          </a:xfrm>
          <a:prstGeom prst="rect">
            <a:avLst/>
          </a:prstGeom>
        </p:spPr>
      </p:pic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7492083" y="3353741"/>
            <a:ext cx="4086305" cy="246164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>
              <a:buFontTx/>
              <a:buNone/>
              <a:defRPr lang="x-none" sz="1600" b="0" cap="none" baseline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 hasCustomPrompt="1"/>
          </p:nvPr>
        </p:nvSpPr>
        <p:spPr bwMode="gray">
          <a:xfrm>
            <a:off x="7492083" y="1053254"/>
            <a:ext cx="4086305" cy="203085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>
              <a:lnSpc>
                <a:spcPct val="100000"/>
              </a:lnSpc>
              <a:defRPr lang="x-none" sz="4399" b="1" cap="all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7492083" y="4337815"/>
            <a:ext cx="4086305" cy="215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latin typeface="+mn-lt"/>
              </a:rPr>
              <a:t>Document type | Date</a:t>
            </a:r>
            <a:endParaRPr lang="en-US" sz="1400" baseline="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9" name="Bild 11">
            <a:extLst>
              <a:ext uri="{FF2B5EF4-FFF2-40B4-BE49-F238E27FC236}">
                <a16:creationId xmlns:a16="http://schemas.microsoft.com/office/drawing/2014/main" id="{F74EECC3-E876-4E2A-A8C0-A919706FD5A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661397" y="5841749"/>
            <a:ext cx="2035239" cy="508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447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1">
          <p15:clr>
            <a:srgbClr val="FBAE40"/>
          </p15:clr>
        </p15:guide>
        <p15:guide id="3">
          <p15:clr>
            <a:srgbClr val="FBAE40"/>
          </p15:clr>
        </p15:guide>
        <p15:guide id="4" pos="5767">
          <p15:clr>
            <a:srgbClr val="FBAE40"/>
          </p15:clr>
        </p15:guide>
        <p15:guide id="5" pos="566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96398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ltGray">
          <a:xfrm>
            <a:off x="1" y="0"/>
            <a:ext cx="12192000" cy="6858000"/>
          </a:xfrm>
          <a:prstGeom prst="rect">
            <a:avLst/>
          </a:prstGeom>
          <a:solidFill>
            <a:srgbClr val="49648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132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ltGray">
          <a:xfrm>
            <a:off x="265151" y="2761611"/>
            <a:ext cx="4174452" cy="3077053"/>
          </a:xfrm>
        </p:spPr>
        <p:txBody>
          <a:bodyPr lIns="144000" tIns="0" rIns="0" anchor="t" anchorCtr="0"/>
          <a:lstStyle>
            <a:lvl1pPr>
              <a:defRPr lang="de-DE" sz="19996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00</a:t>
            </a: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672984" y="2309318"/>
            <a:ext cx="7619405" cy="553870"/>
          </a:xfrm>
          <a:prstGeom prst="rect">
            <a:avLst/>
          </a:prstGeom>
        </p:spPr>
        <p:txBody>
          <a:bodyPr tIns="0" bIns="0" anchor="b">
            <a:spAutoFit/>
          </a:bodyPr>
          <a:lstStyle>
            <a:lvl1pPr marL="0" algn="l" defTabSz="1624666" rtl="0" eaLnBrk="1" latinLnBrk="0" hangingPunct="1">
              <a:defRPr lang="de-DE" sz="3598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HEADLINE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65AD2A49-1C54-4EF5-BE7E-EF4E688B9B36}"/>
              </a:ext>
            </a:extLst>
          </p:cNvPr>
          <p:cNvPicPr>
            <a:picLocks/>
          </p:cNvPicPr>
          <p:nvPr userDrawn="1"/>
        </p:nvPicPr>
        <p:blipFill>
          <a:blip r:embed="rId6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 bwMode="ltGray">
          <a:xfrm>
            <a:off x="7210481" y="1701208"/>
            <a:ext cx="4981519" cy="515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4048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355702"/>
              </p:ext>
            </p:extLst>
          </p:nvPr>
        </p:nvGraphicFramePr>
        <p:xfrm>
          <a:off x="1591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5F08DF-9CC8-4EBA-B35A-893B266FF7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rgbClr val="C1EBF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46BCDE4-D5EA-492A-9A0E-5DD7CC45D3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08000" y="6492926"/>
            <a:ext cx="4113748" cy="12308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Footer</a:t>
            </a:r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AE7383A-0E41-4B09-AD7E-8F116551DDD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507999" y="303929"/>
            <a:ext cx="10773550" cy="461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496638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513B6A4-8638-4E3B-9F05-55866D873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42485865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B5EEEA-EE34-4C69-976E-0C1E97D2D1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621917"/>
              </p:ext>
            </p:ext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BB5EEEA-EE34-4C69-976E-0C1E97D2D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1E80C22-BB73-4716-B60E-9F82A82A3D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100"/>
              </a:spcBef>
              <a:spcAft>
                <a:spcPts val="100"/>
              </a:spcAft>
            </a:pPr>
            <a:endParaRPr lang="en-US" sz="2999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529995"/>
            <a:ext cx="10667871" cy="255010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1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44EEF37-BC7B-49EE-8422-90D509CD83AB}" type="datetime5">
              <a:rPr lang="en-US" smtClean="0"/>
              <a:t>12-Jan-23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err="1"/>
              <a:t>Footerline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>
          <a:xfrm>
            <a:off x="11182352" y="6492446"/>
            <a:ext cx="514348" cy="365554"/>
          </a:xfrm>
          <a:prstGeom prst="rect">
            <a:avLst/>
          </a:prstGeom>
        </p:spPr>
        <p:txBody>
          <a:bodyPr/>
          <a:lstStyle/>
          <a:p>
            <a:fld id="{61201FF1-C63B-412E-ABF0-3D0E918900A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2"/>
            <a:ext cx="10186726" cy="15385"/>
          </a:xfrm>
          <a:solidFill>
            <a:srgbClr val="CFE9EE"/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7229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34FD47-5C31-4CFD-A899-F04F5E3B1F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785129"/>
              </p:ext>
            </p:ext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34FD47-5C31-4CFD-A899-F04F5E3B1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350FEBC-D854-4082-A627-7AF4F90CC5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0FF18-9B8F-4E07-A695-852F55DED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DA0F96-FCD7-44B0-B700-E57B57971B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5F3A6F-4658-4A84-B11B-2FF643B43F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4869379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Headlin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401244"/>
              </p:ext>
            </p:extLst>
          </p:nvPr>
        </p:nvGraphicFramePr>
        <p:xfrm>
          <a:off x="1589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22"/>
          <p:cNvSpPr>
            <a:spLocks noGrp="1"/>
          </p:cNvSpPr>
          <p:nvPr>
            <p:ph type="title" hasCustomPrompt="1"/>
          </p:nvPr>
        </p:nvSpPr>
        <p:spPr>
          <a:xfrm>
            <a:off x="508002" y="515819"/>
            <a:ext cx="10674352" cy="487752"/>
          </a:xfrm>
        </p:spPr>
        <p:txBody>
          <a:bodyPr vert="horz" tIns="35988"/>
          <a:lstStyle>
            <a:lvl1pPr>
              <a:defRPr sz="2899"/>
            </a:lvl1pPr>
          </a:lstStyle>
          <a:p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21" y="260293"/>
            <a:ext cx="5580789" cy="169238"/>
          </a:xfrm>
        </p:spPr>
        <p:txBody>
          <a:bodyPr/>
          <a:lstStyle>
            <a:lvl1pPr>
              <a:defRPr sz="11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Subject Line for Naviga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 lIns="91411" tIns="45704" rIns="91411" bIns="45704"/>
          <a:lstStyle/>
          <a:p>
            <a:fld id="{1153D9D2-4109-4658-A169-3AF16B615417}" type="datetime5">
              <a:rPr lang="en-US" smtClean="0">
                <a:solidFill>
                  <a:srgbClr val="000000"/>
                </a:solidFill>
              </a:rPr>
              <a:pPr/>
              <a:t>12-Jan-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ile name | department | author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 lIns="91411" tIns="45704" rIns="91411" bIns="45704"/>
          <a:lstStyle/>
          <a:p>
            <a:fld id="{61201FF1-C63B-412E-ABF0-3D0E918900A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6266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Inhal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70123D9-9FD3-413E-A75F-AA3059BF51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609245"/>
              </p:ext>
            </p:ext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70123D9-9FD3-413E-A75F-AA3059BF51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D96FCF0-5B65-41F0-8205-6132F0957B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72" y="1555416"/>
            <a:ext cx="11180630" cy="228086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400">
                <a:solidFill>
                  <a:schemeClr val="tx1"/>
                </a:solidFill>
              </a:defRPr>
            </a:lvl7pPr>
            <a:lvl8pPr>
              <a:defRPr sz="12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 dirty="0"/>
              <a:t>1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324548"/>
            <a:ext cx="10141305" cy="15385"/>
          </a:xfrm>
          <a:solidFill>
            <a:srgbClr val="F8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72" y="259147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Zeile</a:t>
            </a:r>
            <a:r>
              <a:rPr lang="en-US" noProof="0" dirty="0"/>
              <a:t> </a:t>
            </a:r>
            <a:r>
              <a:rPr lang="en-US" noProof="0" dirty="0" err="1"/>
              <a:t>zur</a:t>
            </a:r>
            <a:r>
              <a:rPr lang="en-US" noProof="0" dirty="0"/>
              <a:t> </a:t>
            </a:r>
            <a:r>
              <a:rPr lang="en-US" noProof="0" dirty="0" err="1"/>
              <a:t>Anzeige</a:t>
            </a:r>
            <a:r>
              <a:rPr lang="en-US" noProof="0" dirty="0"/>
              <a:t> des </a:t>
            </a:r>
            <a:r>
              <a:rPr lang="en-US" noProof="0" dirty="0" err="1"/>
              <a:t>Kapitels</a:t>
            </a:r>
            <a:endParaRPr lang="en-US" noProof="0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08066" y="444327"/>
            <a:ext cx="9405574" cy="461558"/>
          </a:xfrm>
        </p:spPr>
        <p:txBody>
          <a:bodyPr vert="horz"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pPr defTabSz="914217" fontAlgn="base">
              <a:spcBef>
                <a:spcPct val="0"/>
              </a:spcBef>
              <a:spcAft>
                <a:spcPct val="0"/>
              </a:spcAft>
              <a:defRPr/>
            </a:pPr>
            <a:fld id="{7E566C4E-23BE-4F97-BF91-6768236E866C}" type="datetime1">
              <a:rPr lang="en-US" sz="1900" smtClean="0">
                <a:solidFill>
                  <a:srgbClr val="000000"/>
                </a:solidFill>
              </a:rPr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t>1/12/2023</a:t>
            </a:fld>
            <a:endParaRPr lang="en-US" sz="1900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defTabSz="91421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Repair shop steering | Advanced Analytics Claims | Progress Meeting ACM Claims@AZD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defTabSz="914217" fontAlgn="base">
              <a:spcBef>
                <a:spcPct val="0"/>
              </a:spcBef>
              <a:spcAft>
                <a:spcPct val="0"/>
              </a:spcAft>
              <a:defRPr/>
            </a:pPr>
            <a:fld id="{61201FF1-C63B-412E-ABF0-3D0E918900AC}" type="slidenum">
              <a:rPr lang="en-US" sz="1900" smtClean="0">
                <a:solidFill>
                  <a:srgbClr val="000000"/>
                </a:solidFill>
              </a:rPr>
              <a:pPr defTabSz="91421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9526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C6ED21-756D-472C-8479-D5149FC46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4975333"/>
              </p:ext>
            </p:extLst>
          </p:nvPr>
        </p:nvGraphicFramePr>
        <p:xfrm>
          <a:off x="2118" y="1587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5" imgW="399" imgH="401" progId="TCLayout.ActiveDocument.1">
                  <p:embed/>
                </p:oleObj>
              </mc:Choice>
              <mc:Fallback>
                <p:oleObj name="think-cell Slide" r:id="rId5" imgW="399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C6ED21-756D-472C-8479-D5149FC46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7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32A9248-C717-4789-82AF-64FC27127A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30" cy="158713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324548"/>
            <a:ext cx="10141305" cy="15385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72982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Zeile</a:t>
            </a:r>
            <a:r>
              <a:rPr lang="en-US" noProof="0" dirty="0"/>
              <a:t> </a:t>
            </a:r>
            <a:r>
              <a:rPr lang="en-US" noProof="0" dirty="0" err="1"/>
              <a:t>zur</a:t>
            </a:r>
            <a:r>
              <a:rPr lang="en-US" noProof="0" dirty="0"/>
              <a:t> </a:t>
            </a:r>
            <a:r>
              <a:rPr lang="en-US" noProof="0" dirty="0" err="1"/>
              <a:t>Anzeige</a:t>
            </a:r>
            <a:r>
              <a:rPr lang="en-US" noProof="0" dirty="0"/>
              <a:t> des </a:t>
            </a:r>
            <a:r>
              <a:rPr lang="en-US" noProof="0" dirty="0" err="1"/>
              <a:t>Kapitels</a:t>
            </a:r>
            <a:endParaRPr lang="en-US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>
          <a:xfrm>
            <a:off x="1296300" y="6492896"/>
            <a:ext cx="2254355" cy="123083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10.09.2019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8"/>
          </p:nvPr>
        </p:nvSpPr>
        <p:spPr>
          <a:xfrm>
            <a:off x="670054" y="6367578"/>
            <a:ext cx="5445792" cy="12532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D-CCO || Aufbau VoC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0120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1F9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 rtl="0"/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19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19012"/>
            <a:ext cx="6967728" cy="461558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7" y="957594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063" indent="0" algn="ctr">
              <a:buNone/>
              <a:defRPr sz="2000"/>
            </a:lvl2pPr>
            <a:lvl3pPr marL="914126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8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0C898C5B-A3AA-4DB8-A87D-AC759E6CCF4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6" y="651780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56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56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5B5925D0-A8C4-460B-B962-D8CF06B12F67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1780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800" dirty="0"/>
              <a:t>Source: …</a:t>
            </a:r>
          </a:p>
        </p:txBody>
      </p:sp>
      <p:sp>
        <p:nvSpPr>
          <p:cNvPr id="14" name="Freeform 54">
            <a:extLst>
              <a:ext uri="{FF2B5EF4-FFF2-40B4-BE49-F238E27FC236}">
                <a16:creationId xmlns:a16="http://schemas.microsoft.com/office/drawing/2014/main" id="{FA6B9E10-41CC-41FD-9B1B-A4AF661FDD31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1328392" y="303999"/>
            <a:ext cx="308873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73" tIns="60936" rIns="121873" bIns="6093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7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369916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 userDrawn="1"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01" tIns="60900" rIns="121801" bIns="6090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19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529996"/>
            <a:ext cx="11188638" cy="255069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194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/>
              <a:t>1</a:t>
            </a:r>
          </a:p>
          <a:p>
            <a:pPr lvl="1"/>
            <a:r>
              <a:rPr lang="en-GB" noProof="0"/>
              <a:t>2</a:t>
            </a:r>
          </a:p>
          <a:p>
            <a:pPr lvl="2"/>
            <a:r>
              <a:rPr lang="en-GB" noProof="0"/>
              <a:t>3</a:t>
            </a:r>
          </a:p>
          <a:p>
            <a:pPr lvl="3"/>
            <a:r>
              <a:rPr lang="en-GB" noProof="0"/>
              <a:t>4</a:t>
            </a:r>
          </a:p>
          <a:p>
            <a:pPr lvl="4"/>
            <a:r>
              <a:rPr lang="en-GB" noProof="0"/>
              <a:t>5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53F355A-87D4-4B44-BD0D-859276A78585}" type="datetime5">
              <a:rPr lang="en-US" smtClean="0"/>
              <a:t>12-Jan-23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3" y="376395"/>
            <a:ext cx="8650817" cy="15385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3" y="515818"/>
            <a:ext cx="10674352" cy="514232"/>
          </a:xfrm>
        </p:spPr>
        <p:txBody>
          <a:bodyPr tIns="36000"/>
          <a:lstStyle>
            <a:lvl1pPr>
              <a:defRPr sz="2997"/>
            </a:lvl1pPr>
          </a:lstStyle>
          <a:p>
            <a:r>
              <a:rPr lang="de-DE"/>
              <a:t>TitLE</a:t>
            </a:r>
            <a:endParaRPr lang="en-GB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20" y="260292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err="1"/>
              <a:t>Subject</a:t>
            </a:r>
            <a:r>
              <a:rPr lang="de-DE"/>
              <a:t> Line </a:t>
            </a:r>
            <a:r>
              <a:rPr lang="de-DE" err="1"/>
              <a:t>for</a:t>
            </a:r>
            <a:r>
              <a:rPr lang="de-DE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326877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8" y="0"/>
            <a:ext cx="8650817" cy="768172"/>
          </a:xfrm>
          <a:solidFill>
            <a:srgbClr val="D8E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fr-FR" sz="100" dirty="0">
                <a:solidFill>
                  <a:schemeClr val="lt1"/>
                </a:solidFill>
              </a:defRPr>
            </a:lvl1pPr>
          </a:lstStyle>
          <a:p>
            <a:pPr lvl="0" algn="ctr"/>
            <a:endParaRPr lang="fr-FR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01" tIns="60900" rIns="121801" bIns="6090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19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01" tIns="60900" rIns="121801" bIns="6090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19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0"/>
          </p:nvPr>
        </p:nvSpPr>
        <p:spPr>
          <a:xfrm>
            <a:off x="479268" y="6606061"/>
            <a:ext cx="10693392" cy="123083"/>
          </a:xfrm>
        </p:spPr>
        <p:txBody>
          <a:bodyPr/>
          <a:lstStyle>
            <a:lvl1pPr marL="0" marR="0" indent="0" algn="l" defTabSz="1218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noProof="0"/>
              <a:t>Source: xxx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22"/>
          </p:nvPr>
        </p:nvSpPr>
        <p:spPr>
          <a:xfrm>
            <a:off x="11182352" y="6606058"/>
            <a:ext cx="514348" cy="251942"/>
          </a:xfrm>
        </p:spPr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el 22"/>
          <p:cNvSpPr>
            <a:spLocks noGrp="1"/>
          </p:cNvSpPr>
          <p:nvPr>
            <p:ph type="title" hasCustomPrompt="1"/>
          </p:nvPr>
        </p:nvSpPr>
        <p:spPr>
          <a:xfrm>
            <a:off x="479268" y="515818"/>
            <a:ext cx="11233462" cy="514232"/>
          </a:xfrm>
        </p:spPr>
        <p:txBody>
          <a:bodyPr tIns="36000"/>
          <a:lstStyle>
            <a:lvl1pPr>
              <a:defRPr sz="2997" cap="none"/>
            </a:lvl1pPr>
          </a:lstStyle>
          <a:p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233282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8651350" cy="767918"/>
          </a:xfrm>
          <a:solidFill>
            <a:srgbClr val="CFE9EE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637921"/>
            <a:ext cx="11188638" cy="473113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/>
              <a:t>1</a:t>
            </a:r>
          </a:p>
          <a:p>
            <a:pPr lvl="1"/>
            <a:r>
              <a:rPr lang="en-GB" noProof="0"/>
              <a:t>2</a:t>
            </a:r>
          </a:p>
          <a:p>
            <a:pPr lvl="2"/>
            <a:r>
              <a:rPr lang="en-GB" noProof="0"/>
              <a:t>3</a:t>
            </a:r>
          </a:p>
          <a:p>
            <a:pPr lvl="3"/>
            <a:r>
              <a:rPr lang="en-GB" noProof="0"/>
              <a:t>4</a:t>
            </a:r>
          </a:p>
          <a:p>
            <a:pPr lvl="4"/>
            <a:r>
              <a:rPr lang="en-GB" noProof="0"/>
              <a:t>5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>
                <a:solidFill>
                  <a:srgbClr val="007D8C"/>
                </a:solidFill>
              </a:defRPr>
            </a:lvl1pPr>
          </a:lstStyle>
          <a:p>
            <a:r>
              <a:rPr lang="de-DE"/>
              <a:t>TitLE</a:t>
            </a:r>
            <a:endParaRPr lang="en-GB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 b="1">
                <a:solidFill>
                  <a:srgbClr val="007D8C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err="1"/>
              <a:t>Subject</a:t>
            </a:r>
            <a:r>
              <a:rPr lang="de-DE"/>
              <a:t> Line </a:t>
            </a:r>
            <a:r>
              <a:rPr lang="de-DE" err="1"/>
              <a:t>for</a:t>
            </a:r>
            <a:r>
              <a:rPr lang="de-DE"/>
              <a:t> Navigation</a:t>
            </a:r>
          </a:p>
        </p:txBody>
      </p:sp>
      <p:pic>
        <p:nvPicPr>
          <p:cNvPr id="10" name="Picture 2" descr="K:\CDS\Creative Design Services\TEAM\Live Jobs\2019\10_October\409 CDS-Eline Ramatchandirane\Allianz connect\Logo_Data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04" t="17219" r="33052" b="23449"/>
          <a:stretch/>
        </p:blipFill>
        <p:spPr bwMode="auto">
          <a:xfrm>
            <a:off x="11655648" y="6107443"/>
            <a:ext cx="523681" cy="48716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/>
          <p:cNvSpPr/>
          <p:nvPr userDrawn="1"/>
        </p:nvSpPr>
        <p:spPr>
          <a:xfrm>
            <a:off x="11575224" y="6008885"/>
            <a:ext cx="684528" cy="684279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/>
          </a:p>
        </p:txBody>
      </p:sp>
      <p:sp>
        <p:nvSpPr>
          <p:cNvPr id="3" name="Oval 2"/>
          <p:cNvSpPr/>
          <p:nvPr userDrawn="1"/>
        </p:nvSpPr>
        <p:spPr>
          <a:xfrm>
            <a:off x="11417667" y="6503893"/>
            <a:ext cx="467541" cy="467371"/>
          </a:xfrm>
          <a:prstGeom prst="ellipse">
            <a:avLst/>
          </a:prstGeom>
          <a:solidFill>
            <a:srgbClr val="CFE9EE"/>
          </a:solidFill>
          <a:ln w="6350">
            <a:noFill/>
          </a:ln>
        </p:spPr>
        <p:txBody>
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100"/>
              </a:spcBef>
              <a:spcAft>
                <a:spcPts val="100"/>
              </a:spcAft>
            </a:pPr>
            <a:endParaRPr lang="de-DE" sz="1400"/>
          </a:p>
        </p:txBody>
      </p:sp>
      <p:sp>
        <p:nvSpPr>
          <p:cNvPr id="15" name="Oval 14"/>
          <p:cNvSpPr/>
          <p:nvPr userDrawn="1"/>
        </p:nvSpPr>
        <p:spPr>
          <a:xfrm>
            <a:off x="11486326" y="6408161"/>
            <a:ext cx="158738" cy="158679"/>
          </a:xfrm>
          <a:prstGeom prst="ellipse">
            <a:avLst/>
          </a:prstGeom>
          <a:solidFill>
            <a:srgbClr val="007D8C"/>
          </a:solidFill>
          <a:ln w="6350">
            <a:noFill/>
          </a:ln>
        </p:spPr>
        <p:txBody>
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949153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5856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611" y="2400805"/>
            <a:ext cx="5371064" cy="358188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86994" y="2400805"/>
            <a:ext cx="5371065" cy="358188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F36FFF93-5CB5-4BD1-B035-C1234D6E6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656887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>
            <a:lvl1pPr>
              <a:lnSpc>
                <a:spcPct val="80000"/>
              </a:lnSpc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3EF0E5-3C56-40E1-819C-0AA999C73C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4625"/>
            <a:ext cx="7416800" cy="230188"/>
          </a:xfrm>
        </p:spPr>
        <p:txBody>
          <a:bodyPr/>
          <a:lstStyle>
            <a:lvl1pPr>
              <a:defRPr sz="1100" b="1" i="0" cap="all" spc="6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44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771353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906234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07431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8517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7150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806782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965171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30858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481358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E6CE44-58CD-4A81-8691-BCFF76116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41097136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730406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3770548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8778261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4186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E68A33C7-022A-46B7-AC45-09A692D08C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610" y="1808162"/>
            <a:ext cx="7400615" cy="4357687"/>
          </a:xfrm>
        </p:spPr>
        <p:txBody>
          <a:bodyPr/>
          <a:lstStyle>
            <a:lvl1pPr>
              <a:lnSpc>
                <a:spcPts val="3800"/>
              </a:lnSpc>
              <a:spcAft>
                <a:spcPts val="3000"/>
              </a:spcAft>
              <a:defRPr sz="3800"/>
            </a:lvl1pPr>
            <a:lvl2pPr marL="0" indent="0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8973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BD1BC4-FEF0-4830-B116-C4AAB3BFE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0" y="3024000"/>
            <a:ext cx="5232125" cy="2248991"/>
          </a:xfrm>
        </p:spPr>
        <p:txBody>
          <a:bodyPr/>
          <a:lstStyle>
            <a:lvl1pPr>
              <a:lnSpc>
                <a:spcPts val="3800"/>
              </a:lnSpc>
              <a:defRPr sz="3800">
                <a:solidFill>
                  <a:schemeClr val="tx1"/>
                </a:solidFill>
              </a:defRPr>
            </a:lvl1pPr>
            <a:lvl2pPr marL="0" indent="0" algn="r">
              <a:lnSpc>
                <a:spcPts val="3800"/>
              </a:lnSpc>
              <a:buNone/>
              <a:defRPr sz="3800">
                <a:solidFill>
                  <a:srgbClr val="13A0D3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03990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4415026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544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28590" y="1790652"/>
            <a:ext cx="12420074" cy="1676355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12911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" y="3352709"/>
            <a:ext cx="12572467" cy="1676355"/>
          </a:xfrm>
        </p:spPr>
        <p:txBody>
          <a:bodyPr rIns="216000"/>
          <a:lstStyle>
            <a:lvl1pPr marL="0" indent="0" algn="r">
              <a:lnSpc>
                <a:spcPct val="80000"/>
              </a:lnSpc>
              <a:buNone/>
              <a:defRPr sz="12911">
                <a:solidFill>
                  <a:srgbClr val="13A0D3"/>
                </a:solidFill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forma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610" y="495618"/>
            <a:ext cx="2057313" cy="509277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5610" y="6095835"/>
            <a:ext cx="5485307" cy="380990"/>
          </a:xfrm>
        </p:spPr>
        <p:txBody>
          <a:bodyPr anchor="b" anchorCtr="0"/>
          <a:lstStyle>
            <a:lvl1pPr>
              <a:lnSpc>
                <a:spcPct val="100000"/>
              </a:lnSpc>
              <a:defRPr sz="1587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</p:spTree>
    <p:extLst>
      <p:ext uri="{BB962C8B-B14F-4D97-AF65-F5344CB8AC3E}">
        <p14:creationId xmlns:p14="http://schemas.microsoft.com/office/powerpoint/2010/main" val="25445972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7"/>
            <a:ext cx="9324974" cy="887067"/>
          </a:xfrm>
        </p:spPr>
        <p:txBody>
          <a:bodyPr/>
          <a:lstStyle>
            <a:lvl1pPr>
              <a:lnSpc>
                <a:spcPts val="2500"/>
              </a:lnSpc>
              <a:defRPr sz="2400" baseline="0">
                <a:latin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6C449F3-BD9D-48DC-BFF1-0F66671DA7C6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E4F9C0A-990B-4E70-B0F1-8504A7379A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60732"/>
            <a:ext cx="9324973" cy="252000"/>
          </a:xfrm>
        </p:spPr>
        <p:txBody>
          <a:bodyPr anchor="ctr"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220600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510067"/>
            <a:ext cx="10972295" cy="709656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5FBEDE0-B0F9-494A-8BD0-95CB28403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5610" y="197048"/>
            <a:ext cx="7619677" cy="114297"/>
          </a:xfrm>
        </p:spPr>
        <p:txBody>
          <a:bodyPr/>
          <a:lstStyle>
            <a:lvl1pPr marL="0" algn="l" defTabSz="914389" rtl="0" eaLnBrk="1" latinLnBrk="0" hangingPunct="1">
              <a:defRPr lang="en-US" sz="794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USER GUIDANCE</a:t>
            </a:r>
          </a:p>
        </p:txBody>
      </p:sp>
    </p:spTree>
    <p:extLst>
      <p:ext uri="{BB962C8B-B14F-4D97-AF65-F5344CB8AC3E}">
        <p14:creationId xmlns:p14="http://schemas.microsoft.com/office/powerpoint/2010/main" val="1871971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7C99564-206A-4E78-879E-461DE1C1E3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Allianz 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E6CE44-58CD-4A81-8691-BCFF76116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C3DA5C-4C9C-4ACC-A420-FC8EA23DD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23555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Headlin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401244"/>
              </p:ext>
            </p:extLst>
          </p:nvPr>
        </p:nvGraphicFramePr>
        <p:xfrm>
          <a:off x="1589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22"/>
          <p:cNvSpPr>
            <a:spLocks noGrp="1"/>
          </p:cNvSpPr>
          <p:nvPr>
            <p:ph type="title" hasCustomPrompt="1"/>
          </p:nvPr>
        </p:nvSpPr>
        <p:spPr>
          <a:xfrm>
            <a:off x="508002" y="515819"/>
            <a:ext cx="10674352" cy="487752"/>
          </a:xfrm>
        </p:spPr>
        <p:txBody>
          <a:bodyPr vert="horz" tIns="35988"/>
          <a:lstStyle>
            <a:lvl1pPr>
              <a:defRPr sz="2899"/>
            </a:lvl1pPr>
          </a:lstStyle>
          <a:p>
            <a:r>
              <a:rPr lang="en-US" dirty="0" err="1"/>
              <a:t>TitLE</a:t>
            </a:r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21" y="260293"/>
            <a:ext cx="5580789" cy="169238"/>
          </a:xfrm>
        </p:spPr>
        <p:txBody>
          <a:bodyPr/>
          <a:lstStyle>
            <a:lvl1pPr>
              <a:defRPr sz="11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Subject Line for Naviga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 lIns="91411" tIns="45704" rIns="91411" bIns="45704"/>
          <a:lstStyle/>
          <a:p>
            <a:fld id="{1153D9D2-4109-4658-A169-3AF16B615417}" type="datetime5">
              <a:rPr lang="en-US" smtClean="0">
                <a:solidFill>
                  <a:srgbClr val="000000"/>
                </a:solidFill>
              </a:rPr>
              <a:pPr/>
              <a:t>12-Jan-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ile name | department | author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 lIns="91411" tIns="45704" rIns="91411" bIns="45704"/>
          <a:lstStyle/>
          <a:p>
            <a:fld id="{61201FF1-C63B-412E-ABF0-3D0E918900A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1514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144D67-8CAD-43A4-B13B-256079466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3907467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Z Blank +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144D67-8CAD-43A4-B13B-256079466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5153432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Z Blank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174F1EA0-7738-46BE-A0A5-83AD2F0E50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610" y="495618"/>
            <a:ext cx="2057313" cy="50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458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Z Blank without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1917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tags" Target="../tags/tag13.xml"/><Relationship Id="rId21" Type="http://schemas.openxmlformats.org/officeDocument/2006/relationships/tags" Target="../tags/tag8.xml"/><Relationship Id="rId42" Type="http://schemas.openxmlformats.org/officeDocument/2006/relationships/tags" Target="../tags/tag29.xml"/><Relationship Id="rId47" Type="http://schemas.openxmlformats.org/officeDocument/2006/relationships/tags" Target="../tags/tag34.xml"/><Relationship Id="rId63" Type="http://schemas.openxmlformats.org/officeDocument/2006/relationships/tags" Target="../tags/tag50.xml"/><Relationship Id="rId68" Type="http://schemas.openxmlformats.org/officeDocument/2006/relationships/tags" Target="../tags/tag55.xml"/><Relationship Id="rId84" Type="http://schemas.openxmlformats.org/officeDocument/2006/relationships/tags" Target="../tags/tag71.xml"/><Relationship Id="rId89" Type="http://schemas.openxmlformats.org/officeDocument/2006/relationships/tags" Target="../tags/tag76.xml"/><Relationship Id="rId16" Type="http://schemas.openxmlformats.org/officeDocument/2006/relationships/tags" Target="../tags/tag3.xml"/><Relationship Id="rId11" Type="http://schemas.openxmlformats.org/officeDocument/2006/relationships/slideLayout" Target="../slideLayouts/slideLayout27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53" Type="http://schemas.openxmlformats.org/officeDocument/2006/relationships/tags" Target="../tags/tag40.xml"/><Relationship Id="rId58" Type="http://schemas.openxmlformats.org/officeDocument/2006/relationships/tags" Target="../tags/tag45.xml"/><Relationship Id="rId74" Type="http://schemas.openxmlformats.org/officeDocument/2006/relationships/tags" Target="../tags/tag61.xml"/><Relationship Id="rId79" Type="http://schemas.openxmlformats.org/officeDocument/2006/relationships/tags" Target="../tags/tag66.xml"/><Relationship Id="rId5" Type="http://schemas.openxmlformats.org/officeDocument/2006/relationships/slideLayout" Target="../slideLayouts/slideLayout21.xml"/><Relationship Id="rId90" Type="http://schemas.openxmlformats.org/officeDocument/2006/relationships/tags" Target="../tags/tag77.xml"/><Relationship Id="rId95" Type="http://schemas.openxmlformats.org/officeDocument/2006/relationships/tags" Target="../tags/tag82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43" Type="http://schemas.openxmlformats.org/officeDocument/2006/relationships/tags" Target="../tags/tag30.xml"/><Relationship Id="rId48" Type="http://schemas.openxmlformats.org/officeDocument/2006/relationships/tags" Target="../tags/tag35.xml"/><Relationship Id="rId64" Type="http://schemas.openxmlformats.org/officeDocument/2006/relationships/tags" Target="../tags/tag51.xml"/><Relationship Id="rId69" Type="http://schemas.openxmlformats.org/officeDocument/2006/relationships/tags" Target="../tags/tag56.xml"/><Relationship Id="rId80" Type="http://schemas.openxmlformats.org/officeDocument/2006/relationships/tags" Target="../tags/tag67.xml"/><Relationship Id="rId85" Type="http://schemas.openxmlformats.org/officeDocument/2006/relationships/tags" Target="../tags/tag72.xml"/><Relationship Id="rId3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46" Type="http://schemas.openxmlformats.org/officeDocument/2006/relationships/tags" Target="../tags/tag33.xml"/><Relationship Id="rId59" Type="http://schemas.openxmlformats.org/officeDocument/2006/relationships/tags" Target="../tags/tag46.xml"/><Relationship Id="rId67" Type="http://schemas.openxmlformats.org/officeDocument/2006/relationships/tags" Target="../tags/tag54.xml"/><Relationship Id="rId20" Type="http://schemas.openxmlformats.org/officeDocument/2006/relationships/tags" Target="../tags/tag7.xml"/><Relationship Id="rId41" Type="http://schemas.openxmlformats.org/officeDocument/2006/relationships/tags" Target="../tags/tag28.xml"/><Relationship Id="rId54" Type="http://schemas.openxmlformats.org/officeDocument/2006/relationships/tags" Target="../tags/tag41.xml"/><Relationship Id="rId62" Type="http://schemas.openxmlformats.org/officeDocument/2006/relationships/tags" Target="../tags/tag49.xml"/><Relationship Id="rId70" Type="http://schemas.openxmlformats.org/officeDocument/2006/relationships/tags" Target="../tags/tag57.xml"/><Relationship Id="rId75" Type="http://schemas.openxmlformats.org/officeDocument/2006/relationships/tags" Target="../tags/tag62.xml"/><Relationship Id="rId83" Type="http://schemas.openxmlformats.org/officeDocument/2006/relationships/tags" Target="../tags/tag70.xml"/><Relationship Id="rId88" Type="http://schemas.openxmlformats.org/officeDocument/2006/relationships/tags" Target="../tags/tag75.xml"/><Relationship Id="rId91" Type="http://schemas.openxmlformats.org/officeDocument/2006/relationships/tags" Target="../tags/tag78.xml"/><Relationship Id="rId96" Type="http://schemas.openxmlformats.org/officeDocument/2006/relationships/tags" Target="../tags/tag83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49" Type="http://schemas.openxmlformats.org/officeDocument/2006/relationships/tags" Target="../tags/tag36.xml"/><Relationship Id="rId57" Type="http://schemas.openxmlformats.org/officeDocument/2006/relationships/tags" Target="../tags/tag44.xml"/><Relationship Id="rId10" Type="http://schemas.openxmlformats.org/officeDocument/2006/relationships/slideLayout" Target="../slideLayouts/slideLayout26.xml"/><Relationship Id="rId31" Type="http://schemas.openxmlformats.org/officeDocument/2006/relationships/tags" Target="../tags/tag18.xml"/><Relationship Id="rId44" Type="http://schemas.openxmlformats.org/officeDocument/2006/relationships/tags" Target="../tags/tag31.xml"/><Relationship Id="rId52" Type="http://schemas.openxmlformats.org/officeDocument/2006/relationships/tags" Target="../tags/tag39.xml"/><Relationship Id="rId60" Type="http://schemas.openxmlformats.org/officeDocument/2006/relationships/tags" Target="../tags/tag47.xml"/><Relationship Id="rId65" Type="http://schemas.openxmlformats.org/officeDocument/2006/relationships/tags" Target="../tags/tag52.xml"/><Relationship Id="rId73" Type="http://schemas.openxmlformats.org/officeDocument/2006/relationships/tags" Target="../tags/tag60.xml"/><Relationship Id="rId78" Type="http://schemas.openxmlformats.org/officeDocument/2006/relationships/tags" Target="../tags/tag65.xml"/><Relationship Id="rId81" Type="http://schemas.openxmlformats.org/officeDocument/2006/relationships/tags" Target="../tags/tag68.xml"/><Relationship Id="rId86" Type="http://schemas.openxmlformats.org/officeDocument/2006/relationships/tags" Target="../tags/tag73.xml"/><Relationship Id="rId94" Type="http://schemas.openxmlformats.org/officeDocument/2006/relationships/tags" Target="../tags/tag81.xml"/><Relationship Id="rId99" Type="http://schemas.openxmlformats.org/officeDocument/2006/relationships/image" Target="../media/image11.emf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tags" Target="../tags/tag5.xml"/><Relationship Id="rId39" Type="http://schemas.openxmlformats.org/officeDocument/2006/relationships/tags" Target="../tags/tag26.xml"/><Relationship Id="rId34" Type="http://schemas.openxmlformats.org/officeDocument/2006/relationships/tags" Target="../tags/tag21.xml"/><Relationship Id="rId50" Type="http://schemas.openxmlformats.org/officeDocument/2006/relationships/tags" Target="../tags/tag37.xml"/><Relationship Id="rId55" Type="http://schemas.openxmlformats.org/officeDocument/2006/relationships/tags" Target="../tags/tag42.xml"/><Relationship Id="rId76" Type="http://schemas.openxmlformats.org/officeDocument/2006/relationships/tags" Target="../tags/tag63.xml"/><Relationship Id="rId97" Type="http://schemas.openxmlformats.org/officeDocument/2006/relationships/tags" Target="../tags/tag84.xml"/><Relationship Id="rId7" Type="http://schemas.openxmlformats.org/officeDocument/2006/relationships/slideLayout" Target="../slideLayouts/slideLayout23.xml"/><Relationship Id="rId71" Type="http://schemas.openxmlformats.org/officeDocument/2006/relationships/tags" Target="../tags/tag58.xml"/><Relationship Id="rId92" Type="http://schemas.openxmlformats.org/officeDocument/2006/relationships/tags" Target="../tags/tag79.xml"/><Relationship Id="rId2" Type="http://schemas.openxmlformats.org/officeDocument/2006/relationships/slideLayout" Target="../slideLayouts/slideLayout18.xml"/><Relationship Id="rId29" Type="http://schemas.openxmlformats.org/officeDocument/2006/relationships/tags" Target="../tags/tag16.xml"/><Relationship Id="rId24" Type="http://schemas.openxmlformats.org/officeDocument/2006/relationships/tags" Target="../tags/tag11.xml"/><Relationship Id="rId40" Type="http://schemas.openxmlformats.org/officeDocument/2006/relationships/tags" Target="../tags/tag27.xml"/><Relationship Id="rId45" Type="http://schemas.openxmlformats.org/officeDocument/2006/relationships/tags" Target="../tags/tag32.xml"/><Relationship Id="rId66" Type="http://schemas.openxmlformats.org/officeDocument/2006/relationships/tags" Target="../tags/tag53.xml"/><Relationship Id="rId87" Type="http://schemas.openxmlformats.org/officeDocument/2006/relationships/tags" Target="../tags/tag74.xml"/><Relationship Id="rId61" Type="http://schemas.openxmlformats.org/officeDocument/2006/relationships/tags" Target="../tags/tag48.xml"/><Relationship Id="rId82" Type="http://schemas.openxmlformats.org/officeDocument/2006/relationships/tags" Target="../tags/tag69.xml"/><Relationship Id="rId19" Type="http://schemas.openxmlformats.org/officeDocument/2006/relationships/tags" Target="../tags/tag6.xml"/><Relationship Id="rId14" Type="http://schemas.openxmlformats.org/officeDocument/2006/relationships/vmlDrawing" Target="../drawings/vmlDrawing2.v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56" Type="http://schemas.openxmlformats.org/officeDocument/2006/relationships/tags" Target="../tags/tag43.xml"/><Relationship Id="rId77" Type="http://schemas.openxmlformats.org/officeDocument/2006/relationships/tags" Target="../tags/tag64.xml"/><Relationship Id="rId8" Type="http://schemas.openxmlformats.org/officeDocument/2006/relationships/slideLayout" Target="../slideLayouts/slideLayout24.xml"/><Relationship Id="rId51" Type="http://schemas.openxmlformats.org/officeDocument/2006/relationships/tags" Target="../tags/tag38.xml"/><Relationship Id="rId72" Type="http://schemas.openxmlformats.org/officeDocument/2006/relationships/tags" Target="../tags/tag59.xml"/><Relationship Id="rId93" Type="http://schemas.openxmlformats.org/officeDocument/2006/relationships/tags" Target="../tags/tag80.xml"/><Relationship Id="rId98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tags" Target="../tags/tag108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vmlDrawing" Target="../drawings/vmlDrawing13.v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image" Target="../media/image23.emf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oleObject" Target="../embeddings/oleObject1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F3E8E8-ABB9-4315-B3A1-A90CB47E1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01124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0" imgW="526" imgH="529" progId="TCLayout.ActiveDocument.1">
                  <p:embed/>
                </p:oleObj>
              </mc:Choice>
              <mc:Fallback>
                <p:oleObj name="think-cell Slide" r:id="rId20" imgW="526" imgH="5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AF3E8E8-ABB9-4315-B3A1-A90CB47E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1219722"/>
            <a:ext cx="10972295" cy="9525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612" y="2400805"/>
            <a:ext cx="10972294" cy="35818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 nicht verwend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11" y="495287"/>
            <a:ext cx="5371065" cy="2666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270" b="1" cap="all" spc="63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opline goes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66F374-3C59-41AE-8871-1E1D37242D3C}"/>
              </a:ext>
            </a:extLst>
          </p:cNvPr>
          <p:cNvSpPr txBox="1"/>
          <p:nvPr userDrawn="1"/>
        </p:nvSpPr>
        <p:spPr>
          <a:xfrm rot="16200000">
            <a:off x="11371542" y="5491531"/>
            <a:ext cx="865622" cy="1222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794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Copyright Allianz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204C64-894E-4174-8C8D-9F13ADDEED14}"/>
              </a:ext>
            </a:extLst>
          </p:cNvPr>
          <p:cNvSpPr txBox="1"/>
          <p:nvPr userDrawn="1"/>
        </p:nvSpPr>
        <p:spPr>
          <a:xfrm>
            <a:off x="11769834" y="6359435"/>
            <a:ext cx="123432" cy="1222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0F96B16C-3F5F-44BC-AFCC-8CBCBD90898D}" type="slidenum">
              <a:rPr lang="de-DE" sz="794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/>
              <a:t>‹#›</a:t>
            </a:fld>
            <a:endParaRPr lang="de-DE" sz="794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MSIPCMContentMarking" descr="{&quot;HashCode&quot;:-1284201107,&quot;Placement&quot;:&quot;Header&quot;,&quot;Top&quot;:0.0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C5503DA6-DF00-4E28-A8E5-D96A297ADB3D}"/>
              </a:ext>
            </a:extLst>
          </p:cNvPr>
          <p:cNvSpPr txBox="1"/>
          <p:nvPr userDrawn="1"/>
        </p:nvSpPr>
        <p:spPr>
          <a:xfrm>
            <a:off x="5756851" y="0"/>
            <a:ext cx="678298" cy="262344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8832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/>
  <p:txStyles>
    <p:titleStyle>
      <a:lvl1pPr algn="l" defTabSz="967710" rtl="0" eaLnBrk="1" latinLnBrk="0" hangingPunct="1">
        <a:lnSpc>
          <a:spcPct val="80000"/>
        </a:lnSpc>
        <a:spcBef>
          <a:spcPct val="0"/>
        </a:spcBef>
        <a:buNone/>
        <a:defRPr sz="4974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1905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587" kern="1200">
          <a:solidFill>
            <a:schemeClr val="bg1"/>
          </a:solidFill>
          <a:latin typeface="+mn-lt"/>
          <a:ea typeface="+mn-ea"/>
          <a:cs typeface="+mn-cs"/>
        </a:defRPr>
      </a:lvl2pPr>
      <a:lvl3pPr marL="228593" indent="-228593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587" kern="1200">
          <a:solidFill>
            <a:schemeClr val="bg1"/>
          </a:solidFill>
          <a:latin typeface="+mn-lt"/>
          <a:ea typeface="+mn-ea"/>
          <a:cs typeface="+mn-cs"/>
        </a:defRPr>
      </a:lvl3pPr>
      <a:lvl4pPr marL="228593" indent="-228593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1587" kern="1200">
          <a:solidFill>
            <a:schemeClr val="bg1"/>
          </a:solidFill>
          <a:latin typeface="+mn-lt"/>
          <a:ea typeface="+mn-ea"/>
          <a:cs typeface="+mn-cs"/>
        </a:defRPr>
      </a:lvl4pPr>
      <a:lvl5pPr marL="228593" indent="-228593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1905" kern="1200">
          <a:solidFill>
            <a:schemeClr val="bg1"/>
          </a:solidFill>
          <a:latin typeface="+mn-lt"/>
          <a:ea typeface="+mn-ea"/>
          <a:cs typeface="+mn-cs"/>
        </a:defRPr>
      </a:lvl5pPr>
      <a:lvl6pPr marL="380988" indent="0" algn="l" defTabSz="967710" rtl="0" eaLnBrk="1" latinLnBrk="0" hangingPunct="1">
        <a:lnSpc>
          <a:spcPct val="90000"/>
        </a:lnSpc>
        <a:spcBef>
          <a:spcPts val="635"/>
        </a:spcBef>
        <a:buFont typeface="Arial" panose="020B0604020202020204" pitchFamily="34" charset="0"/>
        <a:buNone/>
        <a:defRPr sz="1905" kern="1200">
          <a:solidFill>
            <a:srgbClr val="FF0000"/>
          </a:solidFill>
          <a:latin typeface="+mn-lt"/>
          <a:ea typeface="+mn-ea"/>
          <a:cs typeface="+mn-cs"/>
        </a:defRPr>
      </a:lvl6pPr>
      <a:lvl7pPr marL="3145056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5">
          <p15:clr>
            <a:srgbClr val="F26B43"/>
          </p15:clr>
        </p15:guide>
        <p15:guide id="2" pos="6826">
          <p15:clr>
            <a:srgbClr val="F26B43"/>
          </p15:clr>
        </p15:guide>
        <p15:guide id="3" orient="horz" pos="295">
          <p15:clr>
            <a:srgbClr val="F26B43"/>
          </p15:clr>
        </p15:guide>
        <p15:guide id="6" orient="horz" pos="3561">
          <p15:clr>
            <a:srgbClr val="F26B43"/>
          </p15:clr>
        </p15:guide>
        <p15:guide id="9" pos="1270">
          <p15:clr>
            <a:srgbClr val="F26B43"/>
          </p15:clr>
        </p15:guide>
        <p15:guide id="10" pos="1406">
          <p15:clr>
            <a:srgbClr val="F26B43"/>
          </p15:clr>
        </p15:guide>
        <p15:guide id="11" pos="2381">
          <p15:clr>
            <a:srgbClr val="F26B43"/>
          </p15:clr>
        </p15:guide>
        <p15:guide id="12" pos="2517">
          <p15:clr>
            <a:srgbClr val="F26B43"/>
          </p15:clr>
        </p15:guide>
        <p15:guide id="13" pos="3492">
          <p15:clr>
            <a:srgbClr val="F26B43"/>
          </p15:clr>
        </p15:guide>
        <p15:guide id="14" pos="3629">
          <p15:clr>
            <a:srgbClr val="F26B43"/>
          </p15:clr>
        </p15:guide>
        <p15:guide id="15" pos="4604">
          <p15:clr>
            <a:srgbClr val="F26B43"/>
          </p15:clr>
        </p15:guide>
        <p15:guide id="16" pos="4740">
          <p15:clr>
            <a:srgbClr val="F26B43"/>
          </p15:clr>
        </p15:guide>
        <p15:guide id="17" pos="5715">
          <p15:clr>
            <a:srgbClr val="F26B43"/>
          </p15:clr>
        </p15:guide>
        <p15:guide id="18" pos="5851">
          <p15:clr>
            <a:srgbClr val="F26B43"/>
          </p15:clr>
        </p15:guide>
        <p15:guide id="19" orient="horz" pos="726">
          <p15:clr>
            <a:srgbClr val="F26B43"/>
          </p15:clr>
        </p15:guide>
        <p15:guide id="20" orient="horz" pos="862">
          <p15:clr>
            <a:srgbClr val="F26B43"/>
          </p15:clr>
        </p15:guide>
        <p15:guide id="21" orient="horz" pos="1293">
          <p15:clr>
            <a:srgbClr val="F26B43"/>
          </p15:clr>
        </p15:guide>
        <p15:guide id="22" orient="horz" pos="142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84486036"/>
              </p:ext>
            </p:extLst>
          </p:nvPr>
        </p:nvGraphicFramePr>
        <p:xfrm>
          <a:off x="1" y="6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98" imgW="270" imgH="270" progId="TCLayout.ActiveDocument.1">
                  <p:embed/>
                </p:oleObj>
              </mc:Choice>
              <mc:Fallback>
                <p:oleObj name="think-cell Slide" r:id="rId9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9"/>
                      <a:stretch>
                        <a:fillRect/>
                      </a:stretch>
                    </p:blipFill>
                    <p:spPr>
                      <a:xfrm>
                        <a:off x="1" y="6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6"/>
            </p:custDataLst>
          </p:nvPr>
        </p:nvSpPr>
        <p:spPr bwMode="auto">
          <a:xfrm>
            <a:off x="1" y="6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507999" y="303929"/>
            <a:ext cx="10773550" cy="461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508000" y="41991"/>
            <a:ext cx="599345" cy="215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tabLst>
                <a:tab pos="626938" algn="l"/>
              </a:tabLst>
            </a:pPr>
            <a:r>
              <a:rPr lang="en-US" sz="1400" cap="none" baseline="0" noProof="0" dirty="0">
                <a:solidFill>
                  <a:schemeClr val="tx1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507999" y="775402"/>
            <a:ext cx="11188700" cy="246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626938" algn="l"/>
              </a:tabLst>
              <a:defRPr lang="x-none"/>
            </a:pPr>
            <a:r>
              <a:rPr lang="en-US" sz="1600" baseline="0" dirty="0">
                <a:solidFill>
                  <a:schemeClr val="tx1"/>
                </a:solidFill>
                <a:latin typeface="+mn-lt"/>
              </a:rPr>
              <a:t>Unit of meas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7999" y="2471777"/>
            <a:ext cx="11188700" cy="12308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noProof="0" dirty="0"/>
              <a:t>Click to edit Master text styles</a:t>
            </a:r>
          </a:p>
          <a:p>
            <a:pPr lvl="1" latinLnBrk="0"/>
            <a:r>
              <a:rPr lang="en-US" noProof="0" dirty="0"/>
              <a:t>Second level</a:t>
            </a:r>
          </a:p>
          <a:p>
            <a:pPr lvl="2" latinLnBrk="0"/>
            <a:r>
              <a:rPr lang="en-US" noProof="0" dirty="0"/>
              <a:t>Third level</a:t>
            </a:r>
          </a:p>
          <a:p>
            <a:pPr lvl="3" latinLnBrk="0"/>
            <a:r>
              <a:rPr lang="en-US" noProof="0" dirty="0"/>
              <a:t>Fourth level</a:t>
            </a:r>
          </a:p>
          <a:p>
            <a:pPr lvl="4" latinLnBrk="0"/>
            <a:r>
              <a:rPr lang="en-US" noProof="0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508000" y="1851373"/>
            <a:ext cx="2227807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tx1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gray">
          <a:xfrm>
            <a:off x="11387291" y="6492897"/>
            <a:ext cx="309346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000000"/>
                </a:solidFill>
              </a:rPr>
              <a:pPr algn="r"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gray">
          <a:xfrm>
            <a:off x="507999" y="6199910"/>
            <a:ext cx="11188700" cy="123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8882" indent="-88882">
              <a:defRPr lang="x-none"/>
            </a:pPr>
            <a:r>
              <a:rPr lang="en-US" sz="800" dirty="0">
                <a:solidFill>
                  <a:srgbClr val="000000"/>
                </a:solidFill>
                <a:latin typeface="+mn-lt"/>
              </a:rPr>
              <a:t>1	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gray">
          <a:xfrm>
            <a:off x="507999" y="6346418"/>
            <a:ext cx="11188700" cy="123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4098" indent="-384098" defTabSz="1217305">
              <a:tabLst/>
            </a:pPr>
            <a:r>
              <a:rPr lang="en-US" sz="800" dirty="0">
                <a:solidFill>
                  <a:srgbClr val="000000"/>
                </a:solidFill>
                <a:latin typeface="+mn-lt"/>
              </a:rPr>
              <a:t>Source: Sourc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F0B90A-4383-41DD-8B1B-C651398E4D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08000" y="6492926"/>
            <a:ext cx="4113748" cy="12308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Footer</a:t>
            </a:r>
          </a:p>
        </p:txBody>
      </p:sp>
      <p:grpSp>
        <p:nvGrpSpPr>
          <p:cNvPr id="79" name="Sticker" hidden="1">
            <a:extLst>
              <a:ext uri="{FF2B5EF4-FFF2-40B4-BE49-F238E27FC236}">
                <a16:creationId xmlns:a16="http://schemas.microsoft.com/office/drawing/2014/main" id="{4876F624-A220-4D0A-AAA8-7E5E924B6A76}"/>
              </a:ext>
            </a:extLst>
          </p:cNvPr>
          <p:cNvGrpSpPr/>
          <p:nvPr/>
        </p:nvGrpSpPr>
        <p:grpSpPr bwMode="gray">
          <a:xfrm>
            <a:off x="11030024" y="775402"/>
            <a:ext cx="666676" cy="241391"/>
            <a:chOff x="8074013" y="285778"/>
            <a:chExt cx="666762" cy="241391"/>
          </a:xfrm>
        </p:grpSpPr>
        <p:sp>
          <p:nvSpPr>
            <p:cNvPr id="100" name="StickerRectangle">
              <a:extLst>
                <a:ext uri="{FF2B5EF4-FFF2-40B4-BE49-F238E27FC236}">
                  <a16:creationId xmlns:a16="http://schemas.microsoft.com/office/drawing/2014/main" id="{A13B2978-BE18-437F-A0BC-F0C05A093A0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74013" y="285778"/>
              <a:ext cx="666762" cy="241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4992">
                <a:buClr>
                  <a:schemeClr val="tx2"/>
                </a:buClr>
              </a:pPr>
              <a:r>
                <a:rPr lang="en-US" sz="1200" baseline="0" noProof="0" dirty="0">
                  <a:solidFill>
                    <a:schemeClr val="tx1"/>
                  </a:solidFill>
                  <a:latin typeface="+mn-lt"/>
                </a:rPr>
                <a:t>STICKER</a:t>
              </a:r>
            </a:p>
          </p:txBody>
        </p:sp>
        <p:cxnSp>
          <p:nvCxnSpPr>
            <p:cNvPr id="101" name="AutoShape 32">
              <a:extLst>
                <a:ext uri="{FF2B5EF4-FFF2-40B4-BE49-F238E27FC236}">
                  <a16:creationId xmlns:a16="http://schemas.microsoft.com/office/drawing/2014/main" id="{472AB4E1-4C02-44B8-B590-D56F3D5FE500}"/>
                </a:ext>
              </a:extLst>
            </p:cNvPr>
            <p:cNvCxnSpPr>
              <a:cxnSpLocks noChangeShapeType="1"/>
              <a:stCxn id="100" idx="4"/>
              <a:endCxn id="100" idx="6"/>
            </p:cNvCxnSpPr>
            <p:nvPr/>
          </p:nvCxnSpPr>
          <p:spPr bwMode="gray">
            <a:xfrm>
              <a:off x="8074013" y="527169"/>
              <a:ext cx="66676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" name="AutoShape 32">
              <a:extLst>
                <a:ext uri="{FF2B5EF4-FFF2-40B4-BE49-F238E27FC236}">
                  <a16:creationId xmlns:a16="http://schemas.microsoft.com/office/drawing/2014/main" id="{0BBA6C76-CDAD-43A0-BDAC-DC1F9E1784B0}"/>
                </a:ext>
              </a:extLst>
            </p:cNvPr>
            <p:cNvCxnSpPr>
              <a:cxnSpLocks noChangeShapeType="1"/>
              <a:stCxn id="100" idx="2"/>
              <a:endCxn id="100" idx="0"/>
            </p:cNvCxnSpPr>
            <p:nvPr userDrawn="1"/>
          </p:nvCxnSpPr>
          <p:spPr bwMode="gray">
            <a:xfrm>
              <a:off x="8074013" y="285778"/>
              <a:ext cx="66676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" name="LegendBoxes" hidden="1">
            <a:extLst>
              <a:ext uri="{FF2B5EF4-FFF2-40B4-BE49-F238E27FC236}">
                <a16:creationId xmlns:a16="http://schemas.microsoft.com/office/drawing/2014/main" id="{14A27ED3-B2A3-48E2-8D74-E039FD484D00}"/>
              </a:ext>
            </a:extLst>
          </p:cNvPr>
          <p:cNvGrpSpPr>
            <a:grpSpLocks/>
          </p:cNvGrpSpPr>
          <p:nvPr/>
        </p:nvGrpSpPr>
        <p:grpSpPr bwMode="gray">
          <a:xfrm>
            <a:off x="10933213" y="775402"/>
            <a:ext cx="763488" cy="996951"/>
            <a:chOff x="4936" y="176"/>
            <a:chExt cx="481" cy="628"/>
          </a:xfrm>
        </p:grpSpPr>
        <p:sp>
          <p:nvSpPr>
            <p:cNvPr id="108" name="Legend1">
              <a:extLst>
                <a:ext uri="{FF2B5EF4-FFF2-40B4-BE49-F238E27FC236}">
                  <a16:creationId xmlns:a16="http://schemas.microsoft.com/office/drawing/2014/main" id="{406E01CD-CE52-458B-9B5C-D8028819178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09" name="LegendRectangle1">
              <a:extLst>
                <a:ext uri="{FF2B5EF4-FFF2-40B4-BE49-F238E27FC236}">
                  <a16:creationId xmlns:a16="http://schemas.microsoft.com/office/drawing/2014/main" id="{004D5DDF-FF62-4CCA-8646-3709B0A479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10" name="Legend2">
              <a:extLst>
                <a:ext uri="{FF2B5EF4-FFF2-40B4-BE49-F238E27FC236}">
                  <a16:creationId xmlns:a16="http://schemas.microsoft.com/office/drawing/2014/main" id="{F7D1FC7F-44E3-4E3C-89C5-BAB54973E51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11" name="LegendRectangle2">
              <a:extLst>
                <a:ext uri="{FF2B5EF4-FFF2-40B4-BE49-F238E27FC236}">
                  <a16:creationId xmlns:a16="http://schemas.microsoft.com/office/drawing/2014/main" id="{9E307C78-715F-4CF5-9D77-BAC22C3767E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13" name="Legend3">
              <a:extLst>
                <a:ext uri="{FF2B5EF4-FFF2-40B4-BE49-F238E27FC236}">
                  <a16:creationId xmlns:a16="http://schemas.microsoft.com/office/drawing/2014/main" id="{AFFCAF24-8883-44E5-9282-81C26843CE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14" name="LegendRectangle3">
              <a:extLst>
                <a:ext uri="{FF2B5EF4-FFF2-40B4-BE49-F238E27FC236}">
                  <a16:creationId xmlns:a16="http://schemas.microsoft.com/office/drawing/2014/main" id="{1079B91A-7C1A-443B-B1CF-D665943BBD8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id="{57FB944D-EF00-42BF-91A8-B60A8E6226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16" name="LegendRectangle4">
              <a:extLst>
                <a:ext uri="{FF2B5EF4-FFF2-40B4-BE49-F238E27FC236}">
                  <a16:creationId xmlns:a16="http://schemas.microsoft.com/office/drawing/2014/main" id="{B4D5DB7B-AF77-4498-85FA-AEEC4203472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00378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</p:grpSp>
      <p:grpSp>
        <p:nvGrpSpPr>
          <p:cNvPr id="117" name="LegendLines" hidden="1">
            <a:extLst>
              <a:ext uri="{FF2B5EF4-FFF2-40B4-BE49-F238E27FC236}">
                <a16:creationId xmlns:a16="http://schemas.microsoft.com/office/drawing/2014/main" id="{DDC3D918-8A24-46ED-AD60-9A0119899BC6}"/>
              </a:ext>
            </a:extLst>
          </p:cNvPr>
          <p:cNvGrpSpPr>
            <a:grpSpLocks/>
          </p:cNvGrpSpPr>
          <p:nvPr/>
        </p:nvGrpSpPr>
        <p:grpSpPr bwMode="gray">
          <a:xfrm>
            <a:off x="10625278" y="775401"/>
            <a:ext cx="1071422" cy="730251"/>
            <a:chOff x="4750" y="176"/>
            <a:chExt cx="675" cy="460"/>
          </a:xfrm>
        </p:grpSpPr>
        <p:sp>
          <p:nvSpPr>
            <p:cNvPr id="118" name="LineLegend1">
              <a:extLst>
                <a:ext uri="{FF2B5EF4-FFF2-40B4-BE49-F238E27FC236}">
                  <a16:creationId xmlns:a16="http://schemas.microsoft.com/office/drawing/2014/main" id="{51211BF8-CE72-4761-A779-0CB8C486E06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19" name="LineLegend2">
              <a:extLst>
                <a:ext uri="{FF2B5EF4-FFF2-40B4-BE49-F238E27FC236}">
                  <a16:creationId xmlns:a16="http://schemas.microsoft.com/office/drawing/2014/main" id="{51AAB6E0-0429-47BE-8581-A3E5825759E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20" name="LineLegend3">
              <a:extLst>
                <a:ext uri="{FF2B5EF4-FFF2-40B4-BE49-F238E27FC236}">
                  <a16:creationId xmlns:a16="http://schemas.microsoft.com/office/drawing/2014/main" id="{331AD350-232D-414A-A015-754DB869E04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baseline="0" noProof="0" dirty="0">
                <a:latin typeface="+mn-lt"/>
              </a:endParaRPr>
            </a:p>
          </p:txBody>
        </p:sp>
        <p:sp>
          <p:nvSpPr>
            <p:cNvPr id="121" name="Legend1">
              <a:extLst>
                <a:ext uri="{FF2B5EF4-FFF2-40B4-BE49-F238E27FC236}">
                  <a16:creationId xmlns:a16="http://schemas.microsoft.com/office/drawing/2014/main" id="{D46E257E-CD00-49CE-98B2-A9F65157D8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22" name="Legend2">
              <a:extLst>
                <a:ext uri="{FF2B5EF4-FFF2-40B4-BE49-F238E27FC236}">
                  <a16:creationId xmlns:a16="http://schemas.microsoft.com/office/drawing/2014/main" id="{A01634E5-FC76-4393-A31C-97D82B73FB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23" name="Legend3">
              <a:extLst>
                <a:ext uri="{FF2B5EF4-FFF2-40B4-BE49-F238E27FC236}">
                  <a16:creationId xmlns:a16="http://schemas.microsoft.com/office/drawing/2014/main" id="{2D5CD10C-1912-45EA-84B9-226F9F6A64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</p:grpSp>
      <p:grpSp>
        <p:nvGrpSpPr>
          <p:cNvPr id="124" name="LegendMoons" hidden="1">
            <a:extLst>
              <a:ext uri="{FF2B5EF4-FFF2-40B4-BE49-F238E27FC236}">
                <a16:creationId xmlns:a16="http://schemas.microsoft.com/office/drawing/2014/main" id="{844A0037-A4D8-4306-8A8F-85B4D69B3E08}"/>
              </a:ext>
            </a:extLst>
          </p:cNvPr>
          <p:cNvGrpSpPr/>
          <p:nvPr/>
        </p:nvGrpSpPr>
        <p:grpSpPr bwMode="gray">
          <a:xfrm>
            <a:off x="10866245" y="775402"/>
            <a:ext cx="830455" cy="1306516"/>
            <a:chOff x="7769225" y="2105025"/>
            <a:chExt cx="830563" cy="1306516"/>
          </a:xfrm>
        </p:grpSpPr>
        <p:grpSp>
          <p:nvGrpSpPr>
            <p:cNvPr id="125" name="MoonLegend1">
              <a:extLst>
                <a:ext uri="{FF2B5EF4-FFF2-40B4-BE49-F238E27FC236}">
                  <a16:creationId xmlns:a16="http://schemas.microsoft.com/office/drawing/2014/main" id="{64607267-E5C8-429E-BD6D-71A43C1ADD44}"/>
                </a:ext>
              </a:extLst>
            </p:cNvPr>
            <p:cNvGrpSpPr>
              <a:grpSpLocks noChangeAspect="1"/>
            </p:cNvGrpSpPr>
            <p:nvPr>
              <p:custDataLst>
                <p:tags r:id="rId83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43" name="Oval 38">
                <a:extLst>
                  <a:ext uri="{FF2B5EF4-FFF2-40B4-BE49-F238E27FC236}">
                    <a16:creationId xmlns:a16="http://schemas.microsoft.com/office/drawing/2014/main" id="{F5ED544C-9797-44ED-8A88-30E7CD92D07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9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C1EBFB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  <p:sp>
            <p:nvSpPr>
              <p:cNvPr id="144" name="Arc 39">
                <a:extLst>
                  <a:ext uri="{FF2B5EF4-FFF2-40B4-BE49-F238E27FC236}">
                    <a16:creationId xmlns:a16="http://schemas.microsoft.com/office/drawing/2014/main" id="{E62DB4BE-D58D-4B34-8F45-966CC988BCD0}"/>
                  </a:ext>
                </a:extLst>
              </p:cNvPr>
              <p:cNvSpPr>
                <a:spLocks noChangeAspect="1"/>
              </p:cNvSpPr>
              <p:nvPr>
                <p:custDataLst>
                  <p:tags r:id="rId9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</p:grpSp>
        <p:grpSp>
          <p:nvGrpSpPr>
            <p:cNvPr id="126" name="MoonLegend2">
              <a:extLst>
                <a:ext uri="{FF2B5EF4-FFF2-40B4-BE49-F238E27FC236}">
                  <a16:creationId xmlns:a16="http://schemas.microsoft.com/office/drawing/2014/main" id="{2523B748-FB90-4189-9D7A-510787253E14}"/>
                </a:ext>
              </a:extLst>
            </p:cNvPr>
            <p:cNvGrpSpPr>
              <a:grpSpLocks noChangeAspect="1"/>
            </p:cNvGrpSpPr>
            <p:nvPr>
              <p:custDataLst>
                <p:tags r:id="rId84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41" name="Oval 41">
                <a:extLst>
                  <a:ext uri="{FF2B5EF4-FFF2-40B4-BE49-F238E27FC236}">
                    <a16:creationId xmlns:a16="http://schemas.microsoft.com/office/drawing/2014/main" id="{0DAC62FC-3E46-4AEE-8811-92DF3807216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9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  <p:sp>
            <p:nvSpPr>
              <p:cNvPr id="142" name="Arc 42">
                <a:extLst>
                  <a:ext uri="{FF2B5EF4-FFF2-40B4-BE49-F238E27FC236}">
                    <a16:creationId xmlns:a16="http://schemas.microsoft.com/office/drawing/2014/main" id="{1AEBB429-4E6E-48A2-BDD3-707853BA010F}"/>
                  </a:ext>
                </a:extLst>
              </p:cNvPr>
              <p:cNvSpPr>
                <a:spLocks noChangeAspect="1"/>
              </p:cNvSpPr>
              <p:nvPr>
                <p:custDataLst>
                  <p:tags r:id="rId9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</p:grpSp>
        <p:grpSp>
          <p:nvGrpSpPr>
            <p:cNvPr id="127" name="MoonLegend4">
              <a:extLst>
                <a:ext uri="{FF2B5EF4-FFF2-40B4-BE49-F238E27FC236}">
                  <a16:creationId xmlns:a16="http://schemas.microsoft.com/office/drawing/2014/main" id="{8D1D7590-0194-43AE-8B2F-D71ECE46C7B1}"/>
                </a:ext>
              </a:extLst>
            </p:cNvPr>
            <p:cNvGrpSpPr>
              <a:grpSpLocks noChangeAspect="1"/>
            </p:cNvGrpSpPr>
            <p:nvPr>
              <p:custDataLst>
                <p:tags r:id="rId85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39" name="Oval 47">
                <a:extLst>
                  <a:ext uri="{FF2B5EF4-FFF2-40B4-BE49-F238E27FC236}">
                    <a16:creationId xmlns:a16="http://schemas.microsoft.com/office/drawing/2014/main" id="{3EE7F311-4292-4AE3-B17B-CBB7A264E55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  <p:sp>
            <p:nvSpPr>
              <p:cNvPr id="140" name="Arc 48">
                <a:extLst>
                  <a:ext uri="{FF2B5EF4-FFF2-40B4-BE49-F238E27FC236}">
                    <a16:creationId xmlns:a16="http://schemas.microsoft.com/office/drawing/2014/main" id="{484DCD34-59A1-408A-9F75-C5E79D68B034}"/>
                  </a:ext>
                </a:extLst>
              </p:cNvPr>
              <p:cNvSpPr>
                <a:spLocks noChangeAspect="1"/>
              </p:cNvSpPr>
              <p:nvPr>
                <p:custDataLst>
                  <p:tags r:id="rId9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</p:grpSp>
        <p:grpSp>
          <p:nvGrpSpPr>
            <p:cNvPr id="128" name="MoonLegend5">
              <a:extLst>
                <a:ext uri="{FF2B5EF4-FFF2-40B4-BE49-F238E27FC236}">
                  <a16:creationId xmlns:a16="http://schemas.microsoft.com/office/drawing/2014/main" id="{3F83009C-DA4D-445A-B010-9E8DBF02E199}"/>
                </a:ext>
              </a:extLst>
            </p:cNvPr>
            <p:cNvGrpSpPr>
              <a:grpSpLocks noChangeAspect="1"/>
            </p:cNvGrpSpPr>
            <p:nvPr>
              <p:custDataLst>
                <p:tags r:id="rId86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37" name="Oval 50">
                <a:extLst>
                  <a:ext uri="{FF2B5EF4-FFF2-40B4-BE49-F238E27FC236}">
                    <a16:creationId xmlns:a16="http://schemas.microsoft.com/office/drawing/2014/main" id="{3B9E2003-18E0-49D2-9F7D-A328ECC1892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9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  <p:sp>
            <p:nvSpPr>
              <p:cNvPr id="138" name="Oval 51">
                <a:extLst>
                  <a:ext uri="{FF2B5EF4-FFF2-40B4-BE49-F238E27FC236}">
                    <a16:creationId xmlns:a16="http://schemas.microsoft.com/office/drawing/2014/main" id="{897CC1EA-57E3-4BB0-977F-5E7A5250A7A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</p:grpSp>
        <p:sp>
          <p:nvSpPr>
            <p:cNvPr id="129" name="Legend1">
              <a:extLst>
                <a:ext uri="{FF2B5EF4-FFF2-40B4-BE49-F238E27FC236}">
                  <a16:creationId xmlns:a16="http://schemas.microsoft.com/office/drawing/2014/main" id="{5864F761-8CB8-4CF7-BD49-995E25FE5D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117467"/>
              <a:ext cx="509888" cy="184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30" name="Legend2">
              <a:extLst>
                <a:ext uri="{FF2B5EF4-FFF2-40B4-BE49-F238E27FC236}">
                  <a16:creationId xmlns:a16="http://schemas.microsoft.com/office/drawing/2014/main" id="{0CE88ECC-D444-4A09-91D4-6AEC01D7E4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392363"/>
              <a:ext cx="509888" cy="184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31" name="Legend3">
              <a:extLst>
                <a:ext uri="{FF2B5EF4-FFF2-40B4-BE49-F238E27FC236}">
                  <a16:creationId xmlns:a16="http://schemas.microsoft.com/office/drawing/2014/main" id="{F3B1783C-2BAE-4CBD-9B77-81C033E9A0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67002"/>
              <a:ext cx="509888" cy="184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32" name="Legend4">
              <a:extLst>
                <a:ext uri="{FF2B5EF4-FFF2-40B4-BE49-F238E27FC236}">
                  <a16:creationId xmlns:a16="http://schemas.microsoft.com/office/drawing/2014/main" id="{EBA1F034-22E6-4E52-9224-EF89094C24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938465"/>
              <a:ext cx="509888" cy="184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sp>
          <p:nvSpPr>
            <p:cNvPr id="133" name="Legend5">
              <a:extLst>
                <a:ext uri="{FF2B5EF4-FFF2-40B4-BE49-F238E27FC236}">
                  <a16:creationId xmlns:a16="http://schemas.microsoft.com/office/drawing/2014/main" id="{DD8E72FC-3FAF-4A70-8BE9-33F897CC715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3214690"/>
              <a:ext cx="509888" cy="184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992">
                <a:buClr>
                  <a:schemeClr val="tx2"/>
                </a:buClr>
              </a:pPr>
              <a:r>
                <a:rPr lang="en-US" sz="1200" baseline="0" noProof="0" dirty="0">
                  <a:latin typeface="+mn-lt"/>
                </a:rPr>
                <a:t>Legend</a:t>
              </a:r>
            </a:p>
          </p:txBody>
        </p:sp>
        <p:grpSp>
          <p:nvGrpSpPr>
            <p:cNvPr id="134" name="MoonLegend3">
              <a:extLst>
                <a:ext uri="{FF2B5EF4-FFF2-40B4-BE49-F238E27FC236}">
                  <a16:creationId xmlns:a16="http://schemas.microsoft.com/office/drawing/2014/main" id="{8CCEBB34-4FDE-42D8-9C6E-083CF6444A50}"/>
                </a:ext>
              </a:extLst>
            </p:cNvPr>
            <p:cNvGrpSpPr>
              <a:grpSpLocks noChangeAspect="1"/>
            </p:cNvGrpSpPr>
            <p:nvPr>
              <p:custDataLst>
                <p:tags r:id="rId87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35" name="Oval 47">
                <a:extLst>
                  <a:ext uri="{FF2B5EF4-FFF2-40B4-BE49-F238E27FC236}">
                    <a16:creationId xmlns:a16="http://schemas.microsoft.com/office/drawing/2014/main" id="{62376F1A-3932-45BB-8BDB-5685363D924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C1EBFB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  <p:sp>
            <p:nvSpPr>
              <p:cNvPr id="136" name="Arc 48">
                <a:extLst>
                  <a:ext uri="{FF2B5EF4-FFF2-40B4-BE49-F238E27FC236}">
                    <a16:creationId xmlns:a16="http://schemas.microsoft.com/office/drawing/2014/main" id="{1060D387-D163-483D-9372-1524354A3850}"/>
                  </a:ext>
                </a:extLst>
              </p:cNvPr>
              <p:cNvSpPr>
                <a:spLocks noChangeAspect="1"/>
              </p:cNvSpPr>
              <p:nvPr>
                <p:custDataLst>
                  <p:tags r:id="rId8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baseline="0" noProof="0" dirty="0">
                  <a:latin typeface="+mn-lt"/>
                </a:endParaRPr>
              </a:p>
            </p:txBody>
          </p:sp>
        </p:grpSp>
      </p:grpSp>
      <p:grpSp>
        <p:nvGrpSpPr>
          <p:cNvPr id="145" name="Moon" hidden="1">
            <a:extLst>
              <a:ext uri="{FF2B5EF4-FFF2-40B4-BE49-F238E27FC236}">
                <a16:creationId xmlns:a16="http://schemas.microsoft.com/office/drawing/2014/main" id="{6D0AFB3D-5602-43A5-B5B3-3AE2598BF961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>
            <a:off x="11442732" y="2471778"/>
            <a:ext cx="253967" cy="254000"/>
            <a:chOff x="762000" y="1270000"/>
            <a:chExt cx="254000" cy="25400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D7B18D7F-94F9-44AF-8623-1080DD6D5CF7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C1EBF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599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7" name="Arc 146">
              <a:extLst>
                <a:ext uri="{FF2B5EF4-FFF2-40B4-BE49-F238E27FC236}">
                  <a16:creationId xmlns:a16="http://schemas.microsoft.com/office/drawing/2014/main" id="{DBBAFA08-FD97-4C44-B03F-514E0605E601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1"/>
              <a:endParaRPr lang="en-US" sz="1599" dirty="0">
                <a:latin typeface="+mn-lt"/>
              </a:endParaRPr>
            </a:p>
          </p:txBody>
        </p:sp>
      </p:grpSp>
      <p:grpSp>
        <p:nvGrpSpPr>
          <p:cNvPr id="148" name="Flow" hidden="1">
            <a:extLst>
              <a:ext uri="{FF2B5EF4-FFF2-40B4-BE49-F238E27FC236}">
                <a16:creationId xmlns:a16="http://schemas.microsoft.com/office/drawing/2014/main" id="{C9B1CF35-C48F-4CD9-AAB6-C24B2A9C65FF}"/>
              </a:ext>
            </a:extLst>
          </p:cNvPr>
          <p:cNvGrpSpPr>
            <a:grpSpLocks/>
          </p:cNvGrpSpPr>
          <p:nvPr>
            <p:custDataLst>
              <p:tags r:id="rId18"/>
            </p:custDataLst>
          </p:nvPr>
        </p:nvGrpSpPr>
        <p:grpSpPr bwMode="gray">
          <a:xfrm>
            <a:off x="508000" y="2794463"/>
            <a:ext cx="1829673" cy="914400"/>
            <a:chOff x="5905500" y="3124202"/>
            <a:chExt cx="1828800" cy="914400"/>
          </a:xfrm>
          <a:solidFill>
            <a:srgbClr val="C1EBFB"/>
          </a:solidFill>
        </p:grpSpPr>
        <p:sp>
          <p:nvSpPr>
            <p:cNvPr id="149" name="Freeform 68">
              <a:extLst>
                <a:ext uri="{FF2B5EF4-FFF2-40B4-BE49-F238E27FC236}">
                  <a16:creationId xmlns:a16="http://schemas.microsoft.com/office/drawing/2014/main" id="{28D5849F-1865-41DD-8015-D80BA87AAAF9}"/>
                </a:ext>
              </a:extLst>
            </p:cNvPr>
            <p:cNvSpPr/>
            <p:nvPr>
              <p:custDataLst>
                <p:tags r:id="rId81"/>
              </p:custDataLst>
            </p:nvPr>
          </p:nvSpPr>
          <p:spPr bwMode="gray">
            <a:xfrm>
              <a:off x="5905500" y="3124202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600" b="1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430B471B-C688-4361-8B57-18C4E6741855}"/>
                </a:ext>
              </a:extLst>
            </p:cNvPr>
            <p:cNvSpPr txBox="1"/>
            <p:nvPr>
              <p:custDataLst>
                <p:tags r:id="rId82"/>
              </p:custDataLst>
            </p:nvPr>
          </p:nvSpPr>
          <p:spPr bwMode="gray">
            <a:xfrm>
              <a:off x="5969000" y="3187700"/>
              <a:ext cx="1524000" cy="78664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0"/>
              <a:r>
                <a:rPr lang="en-US" sz="1600" b="1" dirty="0"/>
                <a:t>Text</a:t>
              </a:r>
            </a:p>
          </p:txBody>
        </p:sp>
      </p:grpSp>
      <p:grpSp>
        <p:nvGrpSpPr>
          <p:cNvPr id="171" name="SplitFlow" hidden="1">
            <a:extLst>
              <a:ext uri="{FF2B5EF4-FFF2-40B4-BE49-F238E27FC236}">
                <a16:creationId xmlns:a16="http://schemas.microsoft.com/office/drawing/2014/main" id="{77924831-B396-416C-BD2D-9C275F05E2F4}"/>
              </a:ext>
            </a:extLst>
          </p:cNvPr>
          <p:cNvGrpSpPr>
            <a:grpSpLocks/>
          </p:cNvGrpSpPr>
          <p:nvPr>
            <p:custDataLst>
              <p:tags r:id="rId19"/>
            </p:custDataLst>
          </p:nvPr>
        </p:nvGrpSpPr>
        <p:grpSpPr bwMode="gray">
          <a:xfrm>
            <a:off x="2451834" y="2794463"/>
            <a:ext cx="1828562" cy="914398"/>
            <a:chOff x="114300" y="1270003"/>
            <a:chExt cx="1828800" cy="914400"/>
          </a:xfrm>
          <a:solidFill>
            <a:srgbClr val="C1EBFB"/>
          </a:solidFill>
        </p:grpSpPr>
        <p:sp>
          <p:nvSpPr>
            <p:cNvPr id="184" name="Freeform 71">
              <a:extLst>
                <a:ext uri="{FF2B5EF4-FFF2-40B4-BE49-F238E27FC236}">
                  <a16:creationId xmlns:a16="http://schemas.microsoft.com/office/drawing/2014/main" id="{6DBA101C-304B-4555-A636-A5F33FF2C70A}"/>
                </a:ext>
              </a:extLst>
            </p:cNvPr>
            <p:cNvSpPr/>
            <p:nvPr>
              <p:custDataLst>
                <p:tags r:id="rId77"/>
              </p:custDataLst>
            </p:nvPr>
          </p:nvSpPr>
          <p:spPr bwMode="gray">
            <a:xfrm>
              <a:off x="114300" y="1270003"/>
              <a:ext cx="1828800" cy="457201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600" b="1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2580BBC7-83EA-4C60-AA63-4CE4F84052EB}"/>
                </a:ext>
              </a:extLst>
            </p:cNvPr>
            <p:cNvSpPr txBox="1"/>
            <p:nvPr>
              <p:custDataLst>
                <p:tags r:id="rId78"/>
              </p:custDataLst>
            </p:nvPr>
          </p:nvSpPr>
          <p:spPr bwMode="gray">
            <a:xfrm>
              <a:off x="177800" y="1327153"/>
              <a:ext cx="1524000" cy="33394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9pPr>
            </a:lstStyle>
            <a:p>
              <a:pPr lvl="0"/>
              <a:r>
                <a:rPr lang="en-US" sz="1600" b="1" dirty="0"/>
                <a:t>Text</a:t>
              </a:r>
            </a:p>
          </p:txBody>
        </p:sp>
        <p:sp>
          <p:nvSpPr>
            <p:cNvPr id="186" name="Freeform 73">
              <a:extLst>
                <a:ext uri="{FF2B5EF4-FFF2-40B4-BE49-F238E27FC236}">
                  <a16:creationId xmlns:a16="http://schemas.microsoft.com/office/drawing/2014/main" id="{94866B0D-5679-4523-91F8-D58FFD463A42}"/>
                </a:ext>
              </a:extLst>
            </p:cNvPr>
            <p:cNvSpPr/>
            <p:nvPr>
              <p:custDataLst>
                <p:tags r:id="rId79"/>
              </p:custDataLst>
            </p:nvPr>
          </p:nvSpPr>
          <p:spPr bwMode="gray">
            <a:xfrm>
              <a:off x="114300" y="1727202"/>
              <a:ext cx="1828800" cy="457201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600" b="1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31F60EB7-DBC8-4307-BB0E-500D40CD3F88}"/>
                </a:ext>
              </a:extLst>
            </p:cNvPr>
            <p:cNvSpPr txBox="1"/>
            <p:nvPr>
              <p:custDataLst>
                <p:tags r:id="rId80"/>
              </p:custDataLst>
            </p:nvPr>
          </p:nvSpPr>
          <p:spPr bwMode="gray">
            <a:xfrm>
              <a:off x="177800" y="1784350"/>
              <a:ext cx="1524000" cy="33394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9pPr>
            </a:lstStyle>
            <a:p>
              <a:pPr lvl="0"/>
              <a:r>
                <a:rPr lang="en-US" sz="1600" b="1" dirty="0"/>
                <a:t>Text</a:t>
              </a:r>
            </a:p>
          </p:txBody>
        </p:sp>
      </p:grpSp>
      <p:sp>
        <p:nvSpPr>
          <p:cNvPr id="188" name="Oval" hidden="1">
            <a:extLst>
              <a:ext uri="{FF2B5EF4-FFF2-40B4-BE49-F238E27FC236}">
                <a16:creationId xmlns:a16="http://schemas.microsoft.com/office/drawing/2014/main" id="{0831AB5B-0B0D-4077-9C6D-0153F17E5BBC}"/>
              </a:ext>
            </a:extLst>
          </p:cNvPr>
          <p:cNvSpPr txBox="1">
            <a:spLocks/>
          </p:cNvSpPr>
          <p:nvPr/>
        </p:nvSpPr>
        <p:spPr bwMode="gray">
          <a:xfrm>
            <a:off x="507999" y="1120102"/>
            <a:ext cx="1524992" cy="15240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35992" tIns="35992" rIns="35992" bIns="35992" rtlCol="0" anchor="ctr" anchorCtr="0">
            <a:noAutofit/>
          </a:bodyPr>
          <a:lstStyle>
            <a:defPPr>
              <a:defRPr lang="en-US"/>
            </a:defPPr>
            <a:lvl1pPr marL="0" indent="0" defTabSz="1217549" eaLnBrk="1" hangingPunct="1">
              <a:buClr>
                <a:schemeClr val="tx1"/>
              </a:buClr>
              <a:buSzPct val="100000"/>
              <a:buFontTx/>
              <a:buNone/>
              <a:defRPr sz="1600" kern="0" baseline="0">
                <a:solidFill>
                  <a:schemeClr val="bg1"/>
                </a:solidFill>
                <a:latin typeface="+mn-lt"/>
              </a:defRPr>
            </a:lvl1pPr>
            <a:lvl2pPr marL="180000" lvl="1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2pPr>
            <a:lvl3pPr marL="360000" lvl="2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3pPr>
            <a:lvl4pPr marL="540000" lvl="3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4pPr>
            <a:lvl5pPr marL="720000" lvl="4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9pPr>
          </a:lstStyle>
          <a:p>
            <a:pPr lvl="0" algn="ctr"/>
            <a:r>
              <a:rPr lang="en-US" sz="1600" dirty="0"/>
              <a:t>Text</a:t>
            </a:r>
          </a:p>
        </p:txBody>
      </p:sp>
      <p:sp>
        <p:nvSpPr>
          <p:cNvPr id="189" name="Body3" hidden="1">
            <a:extLst>
              <a:ext uri="{FF2B5EF4-FFF2-40B4-BE49-F238E27FC236}">
                <a16:creationId xmlns:a16="http://schemas.microsoft.com/office/drawing/2014/main" id="{D776A2C0-7018-4C56-AE74-A5F0A4C4AA71}"/>
              </a:ext>
            </a:extLst>
          </p:cNvPr>
          <p:cNvSpPr txBox="1">
            <a:spLocks/>
          </p:cNvSpPr>
          <p:nvPr/>
        </p:nvSpPr>
        <p:spPr bwMode="gray">
          <a:xfrm>
            <a:off x="2205861" y="1120102"/>
            <a:ext cx="1524992" cy="1524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txBody>
          <a:bodyPr vert="horz" wrap="square" lIns="71992" tIns="71992" rIns="71992" bIns="71992" rtlCol="0" anchor="t" anchorCtr="0">
            <a:noAutofit/>
          </a:bodyPr>
          <a:lstStyle>
            <a:defPPr>
              <a:defRPr lang="en-US"/>
            </a:defPPr>
            <a:lvl1pPr marL="0" indent="0" defTabSz="1217549" eaLnBrk="1" hangingPunct="1">
              <a:buClr>
                <a:schemeClr val="tx1"/>
              </a:buClr>
              <a:buSzPct val="100000"/>
              <a:buFontTx/>
              <a:buNone/>
              <a:defRPr sz="1600" kern="0" baseline="0">
                <a:solidFill>
                  <a:schemeClr val="bg1"/>
                </a:solidFill>
                <a:latin typeface="+mn-lt"/>
              </a:defRPr>
            </a:lvl1pPr>
            <a:lvl2pPr marL="180000" lvl="1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2pPr>
            <a:lvl3pPr marL="360000" lvl="2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3pPr>
            <a:lvl4pPr marL="540000" lvl="3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4pPr>
            <a:lvl5pPr marL="720000" lvl="4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9pPr>
          </a:lstStyle>
          <a:p>
            <a:pPr lvl="0" algn="l"/>
            <a:r>
              <a:rPr lang="en-US" sz="1600" dirty="0"/>
              <a:t>Text</a:t>
            </a:r>
          </a:p>
        </p:txBody>
      </p:sp>
      <p:sp>
        <p:nvSpPr>
          <p:cNvPr id="190" name="RoundedRectangle" hidden="1">
            <a:extLst>
              <a:ext uri="{FF2B5EF4-FFF2-40B4-BE49-F238E27FC236}">
                <a16:creationId xmlns:a16="http://schemas.microsoft.com/office/drawing/2014/main" id="{C8B6BA64-CF50-47ED-91FA-F71A42FF8CDA}"/>
              </a:ext>
            </a:extLst>
          </p:cNvPr>
          <p:cNvSpPr txBox="1">
            <a:spLocks/>
          </p:cNvSpPr>
          <p:nvPr/>
        </p:nvSpPr>
        <p:spPr bwMode="gray">
          <a:xfrm>
            <a:off x="3903723" y="1120102"/>
            <a:ext cx="1524992" cy="1524000"/>
          </a:xfrm>
          <a:prstGeom prst="roundRect">
            <a:avLst/>
          </a:prstGeom>
          <a:solidFill>
            <a:schemeClr val="accent3"/>
          </a:solidFill>
          <a:ln w="9525">
            <a:noFill/>
          </a:ln>
        </p:spPr>
        <p:txBody>
          <a:bodyPr vert="horz" wrap="square" lIns="71992" tIns="71992" rIns="71992" bIns="71992" rtlCol="0" anchor="t" anchorCtr="0">
            <a:noAutofit/>
          </a:bodyPr>
          <a:lstStyle>
            <a:defPPr>
              <a:defRPr lang="en-US"/>
            </a:defPPr>
            <a:lvl1pPr marL="0" indent="0" defTabSz="1217549" eaLnBrk="1" hangingPunct="1">
              <a:buClr>
                <a:schemeClr val="tx1"/>
              </a:buClr>
              <a:buSzPct val="100000"/>
              <a:buFontTx/>
              <a:buNone/>
              <a:defRPr sz="1600" kern="0" baseline="0">
                <a:solidFill>
                  <a:schemeClr val="bg1"/>
                </a:solidFill>
                <a:latin typeface="+mn-lt"/>
              </a:defRPr>
            </a:lvl1pPr>
            <a:lvl2pPr marL="180000" lvl="1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2pPr>
            <a:lvl3pPr marL="360000" lvl="2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3pPr>
            <a:lvl4pPr marL="540000" lvl="3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4pPr>
            <a:lvl5pPr marL="720000" lvl="4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9pPr>
          </a:lstStyle>
          <a:p>
            <a:pPr lvl="0" algn="l"/>
            <a:r>
              <a:rPr lang="en-US" sz="1600" dirty="0"/>
              <a:t>Text</a:t>
            </a:r>
          </a:p>
        </p:txBody>
      </p:sp>
      <p:sp>
        <p:nvSpPr>
          <p:cNvPr id="191" name="Arrow" hidden="1">
            <a:extLst>
              <a:ext uri="{FF2B5EF4-FFF2-40B4-BE49-F238E27FC236}">
                <a16:creationId xmlns:a16="http://schemas.microsoft.com/office/drawing/2014/main" id="{F1E6EB24-32E4-466F-BBD9-972DDDD5BCFA}"/>
              </a:ext>
            </a:extLst>
          </p:cNvPr>
          <p:cNvSpPr txBox="1">
            <a:spLocks/>
          </p:cNvSpPr>
          <p:nvPr/>
        </p:nvSpPr>
        <p:spPr bwMode="gray">
          <a:xfrm>
            <a:off x="507999" y="3859226"/>
            <a:ext cx="1828562" cy="914398"/>
          </a:xfrm>
          <a:prstGeom prst="rightArrow">
            <a:avLst>
              <a:gd name="adj1" fmla="val 70000"/>
              <a:gd name="adj2" fmla="val 37678"/>
            </a:avLst>
          </a:prstGeom>
          <a:solidFill>
            <a:schemeClr val="accent3"/>
          </a:solidFill>
          <a:ln w="9525">
            <a:noFill/>
          </a:ln>
        </p:spPr>
        <p:txBody>
          <a:bodyPr vert="horz" wrap="square" lIns="71983" tIns="0" rIns="0" bIns="0" rtlCol="0" anchor="ctr" anchorCtr="0">
            <a:noAutofit/>
          </a:bodyPr>
          <a:lstStyle>
            <a:defPPr>
              <a:defRPr lang="en-US"/>
            </a:defPPr>
            <a:lvl1pPr marL="0" indent="0" defTabSz="1217549" eaLnBrk="1" hangingPunct="1">
              <a:buClr>
                <a:schemeClr val="tx1"/>
              </a:buClr>
              <a:buSzPct val="100000"/>
              <a:buFontTx/>
              <a:buNone/>
              <a:defRPr sz="1600" kern="0" baseline="0">
                <a:solidFill>
                  <a:schemeClr val="bg1"/>
                </a:solidFill>
                <a:latin typeface="+mn-lt"/>
              </a:defRPr>
            </a:lvl1pPr>
            <a:lvl2pPr marL="180000" lvl="1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2pPr>
            <a:lvl3pPr marL="360000" lvl="2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3pPr>
            <a:lvl4pPr marL="540000" lvl="3" indent="-180000" defTabSz="1217549" eaLnBrk="1" hangingPunct="1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00" kern="0" baseline="0">
                <a:solidFill>
                  <a:schemeClr val="bg1"/>
                </a:solidFill>
                <a:latin typeface="+mn-lt"/>
              </a:defRPr>
            </a:lvl4pPr>
            <a:lvl5pPr marL="720000" lvl="4" indent="-180000" defTabSz="1217549" eaLnBrk="1" hangingPunct="1"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defRPr sz="1600" kern="0" baseline="0">
                <a:solidFill>
                  <a:schemeClr val="bg1"/>
                </a:solidFill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5" baseline="0">
                <a:latin typeface="+mn-lt"/>
              </a:defRPr>
            </a:lvl9pPr>
          </a:lstStyle>
          <a:p>
            <a:pPr lvl="0"/>
            <a:r>
              <a:rPr lang="en-US" sz="1600" b="1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36286D95-24E9-4518-AF0A-817BAC1EAB51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 rot="5400000">
            <a:off x="4228975" y="2710112"/>
            <a:ext cx="3085386" cy="342945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E87A98EF-86FB-48AA-8796-D00104398ABC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 bwMode="gray">
          <a:xfrm>
            <a:off x="5275765" y="2891340"/>
            <a:ext cx="190523" cy="1650619"/>
          </a:xfrm>
          <a:custGeom>
            <a:avLst/>
            <a:gdLst>
              <a:gd name="connsiteX0" fmla="*/ 0 w 6260282"/>
              <a:gd name="connsiteY0" fmla="*/ 0 h 5119952"/>
              <a:gd name="connsiteX1" fmla="*/ 6196782 w 6260282"/>
              <a:gd name="connsiteY1" fmla="*/ 3468952 h 5119952"/>
              <a:gd name="connsiteX2" fmla="*/ 6196782 w 6260282"/>
              <a:gd name="connsiteY2" fmla="*/ 4230952 h 5119952"/>
              <a:gd name="connsiteX3" fmla="*/ 6260282 w 6260282"/>
              <a:gd name="connsiteY3" fmla="*/ 4294452 h 5119952"/>
              <a:gd name="connsiteX4" fmla="*/ 6196782 w 6260282"/>
              <a:gd name="connsiteY4" fmla="*/ 4357952 h 5119952"/>
              <a:gd name="connsiteX5" fmla="*/ 6196782 w 6260282"/>
              <a:gd name="connsiteY5" fmla="*/ 5119952 h 5119952"/>
              <a:gd name="connsiteX6" fmla="*/ 6069782 w 6260282"/>
              <a:gd name="connsiteY6" fmla="*/ 5119952 h 5119952"/>
              <a:gd name="connsiteX0" fmla="*/ 0 w 6260282"/>
              <a:gd name="connsiteY0" fmla="*/ 0 h 5119952"/>
              <a:gd name="connsiteX1" fmla="*/ 127000 w 6260282"/>
              <a:gd name="connsiteY1" fmla="*/ 0 h 5119952"/>
              <a:gd name="connsiteX2" fmla="*/ 6196782 w 6260282"/>
              <a:gd name="connsiteY2" fmla="*/ 4230952 h 5119952"/>
              <a:gd name="connsiteX3" fmla="*/ 6260282 w 6260282"/>
              <a:gd name="connsiteY3" fmla="*/ 4294452 h 5119952"/>
              <a:gd name="connsiteX4" fmla="*/ 6196782 w 6260282"/>
              <a:gd name="connsiteY4" fmla="*/ 4357952 h 5119952"/>
              <a:gd name="connsiteX5" fmla="*/ 6196782 w 6260282"/>
              <a:gd name="connsiteY5" fmla="*/ 5119952 h 5119952"/>
              <a:gd name="connsiteX6" fmla="*/ 6069782 w 6260282"/>
              <a:gd name="connsiteY6" fmla="*/ 5119952 h 5119952"/>
              <a:gd name="connsiteX0" fmla="*/ 0 w 6260282"/>
              <a:gd name="connsiteY0" fmla="*/ 0 h 5119952"/>
              <a:gd name="connsiteX1" fmla="*/ 127000 w 6260282"/>
              <a:gd name="connsiteY1" fmla="*/ 0 h 5119952"/>
              <a:gd name="connsiteX2" fmla="*/ 127000 w 6260282"/>
              <a:gd name="connsiteY2" fmla="*/ 762000 h 5119952"/>
              <a:gd name="connsiteX3" fmla="*/ 6260282 w 6260282"/>
              <a:gd name="connsiteY3" fmla="*/ 4294452 h 5119952"/>
              <a:gd name="connsiteX4" fmla="*/ 6196782 w 6260282"/>
              <a:gd name="connsiteY4" fmla="*/ 4357952 h 5119952"/>
              <a:gd name="connsiteX5" fmla="*/ 6196782 w 6260282"/>
              <a:gd name="connsiteY5" fmla="*/ 5119952 h 5119952"/>
              <a:gd name="connsiteX6" fmla="*/ 6069782 w 6260282"/>
              <a:gd name="connsiteY6" fmla="*/ 5119952 h 5119952"/>
              <a:gd name="connsiteX0" fmla="*/ 0 w 6196782"/>
              <a:gd name="connsiteY0" fmla="*/ 0 h 5119952"/>
              <a:gd name="connsiteX1" fmla="*/ 127000 w 6196782"/>
              <a:gd name="connsiteY1" fmla="*/ 0 h 5119952"/>
              <a:gd name="connsiteX2" fmla="*/ 127000 w 6196782"/>
              <a:gd name="connsiteY2" fmla="*/ 762000 h 5119952"/>
              <a:gd name="connsiteX3" fmla="*/ 190500 w 6196782"/>
              <a:gd name="connsiteY3" fmla="*/ 825500 h 5119952"/>
              <a:gd name="connsiteX4" fmla="*/ 6196782 w 6196782"/>
              <a:gd name="connsiteY4" fmla="*/ 4357952 h 5119952"/>
              <a:gd name="connsiteX5" fmla="*/ 6196782 w 6196782"/>
              <a:gd name="connsiteY5" fmla="*/ 5119952 h 5119952"/>
              <a:gd name="connsiteX6" fmla="*/ 6069782 w 6196782"/>
              <a:gd name="connsiteY6" fmla="*/ 5119952 h 5119952"/>
              <a:gd name="connsiteX0" fmla="*/ 0 w 6196782"/>
              <a:gd name="connsiteY0" fmla="*/ 0 h 5119952"/>
              <a:gd name="connsiteX1" fmla="*/ 127000 w 6196782"/>
              <a:gd name="connsiteY1" fmla="*/ 0 h 5119952"/>
              <a:gd name="connsiteX2" fmla="*/ 127000 w 6196782"/>
              <a:gd name="connsiteY2" fmla="*/ 762000 h 5119952"/>
              <a:gd name="connsiteX3" fmla="*/ 190500 w 6196782"/>
              <a:gd name="connsiteY3" fmla="*/ 825500 h 5119952"/>
              <a:gd name="connsiteX4" fmla="*/ 127000 w 6196782"/>
              <a:gd name="connsiteY4" fmla="*/ 889000 h 5119952"/>
              <a:gd name="connsiteX5" fmla="*/ 6196782 w 6196782"/>
              <a:gd name="connsiteY5" fmla="*/ 5119952 h 5119952"/>
              <a:gd name="connsiteX6" fmla="*/ 6069782 w 6196782"/>
              <a:gd name="connsiteY6" fmla="*/ 5119952 h 5119952"/>
              <a:gd name="connsiteX0" fmla="*/ 0 w 6069782"/>
              <a:gd name="connsiteY0" fmla="*/ 0 h 5119952"/>
              <a:gd name="connsiteX1" fmla="*/ 127000 w 6069782"/>
              <a:gd name="connsiteY1" fmla="*/ 0 h 5119952"/>
              <a:gd name="connsiteX2" fmla="*/ 127000 w 6069782"/>
              <a:gd name="connsiteY2" fmla="*/ 762000 h 5119952"/>
              <a:gd name="connsiteX3" fmla="*/ 190500 w 6069782"/>
              <a:gd name="connsiteY3" fmla="*/ 825500 h 5119952"/>
              <a:gd name="connsiteX4" fmla="*/ 127000 w 6069782"/>
              <a:gd name="connsiteY4" fmla="*/ 889000 h 5119952"/>
              <a:gd name="connsiteX5" fmla="*/ 127000 w 6069782"/>
              <a:gd name="connsiteY5" fmla="*/ 1651001 h 5119952"/>
              <a:gd name="connsiteX6" fmla="*/ 6069782 w 6069782"/>
              <a:gd name="connsiteY6" fmla="*/ 5119952 h 5119952"/>
              <a:gd name="connsiteX0" fmla="*/ 0 w 190500"/>
              <a:gd name="connsiteY0" fmla="*/ 0 h 1651001"/>
              <a:gd name="connsiteX1" fmla="*/ 127000 w 190500"/>
              <a:gd name="connsiteY1" fmla="*/ 0 h 1651001"/>
              <a:gd name="connsiteX2" fmla="*/ 127000 w 190500"/>
              <a:gd name="connsiteY2" fmla="*/ 762000 h 1651001"/>
              <a:gd name="connsiteX3" fmla="*/ 190500 w 190500"/>
              <a:gd name="connsiteY3" fmla="*/ 825500 h 1651001"/>
              <a:gd name="connsiteX4" fmla="*/ 127000 w 190500"/>
              <a:gd name="connsiteY4" fmla="*/ 889000 h 1651001"/>
              <a:gd name="connsiteX5" fmla="*/ 127000 w 190500"/>
              <a:gd name="connsiteY5" fmla="*/ 1651001 h 1651001"/>
              <a:gd name="connsiteX6" fmla="*/ 0 w 190500"/>
              <a:gd name="connsiteY6" fmla="*/ 1651001 h 1651001"/>
              <a:gd name="connsiteX0" fmla="*/ 0 w 6260282"/>
              <a:gd name="connsiteY0" fmla="*/ 0 h 5119953"/>
              <a:gd name="connsiteX1" fmla="*/ 6196782 w 6260282"/>
              <a:gd name="connsiteY1" fmla="*/ 3468952 h 5119953"/>
              <a:gd name="connsiteX2" fmla="*/ 6196782 w 6260282"/>
              <a:gd name="connsiteY2" fmla="*/ 4230952 h 5119953"/>
              <a:gd name="connsiteX3" fmla="*/ 6260282 w 6260282"/>
              <a:gd name="connsiteY3" fmla="*/ 4294452 h 5119953"/>
              <a:gd name="connsiteX4" fmla="*/ 6196782 w 6260282"/>
              <a:gd name="connsiteY4" fmla="*/ 4357952 h 5119953"/>
              <a:gd name="connsiteX5" fmla="*/ 6196782 w 6260282"/>
              <a:gd name="connsiteY5" fmla="*/ 5119953 h 5119953"/>
              <a:gd name="connsiteX6" fmla="*/ 6069782 w 6260282"/>
              <a:gd name="connsiteY6" fmla="*/ 5119953 h 5119953"/>
              <a:gd name="connsiteX0" fmla="*/ 0 w 6260282"/>
              <a:gd name="connsiteY0" fmla="*/ 0 h 5119953"/>
              <a:gd name="connsiteX1" fmla="*/ 127000 w 6260282"/>
              <a:gd name="connsiteY1" fmla="*/ 0 h 5119953"/>
              <a:gd name="connsiteX2" fmla="*/ 6196782 w 6260282"/>
              <a:gd name="connsiteY2" fmla="*/ 4230952 h 5119953"/>
              <a:gd name="connsiteX3" fmla="*/ 6260282 w 6260282"/>
              <a:gd name="connsiteY3" fmla="*/ 4294452 h 5119953"/>
              <a:gd name="connsiteX4" fmla="*/ 6196782 w 6260282"/>
              <a:gd name="connsiteY4" fmla="*/ 4357952 h 5119953"/>
              <a:gd name="connsiteX5" fmla="*/ 6196782 w 6260282"/>
              <a:gd name="connsiteY5" fmla="*/ 5119953 h 5119953"/>
              <a:gd name="connsiteX6" fmla="*/ 6069782 w 6260282"/>
              <a:gd name="connsiteY6" fmla="*/ 5119953 h 5119953"/>
              <a:gd name="connsiteX0" fmla="*/ 0 w 6260282"/>
              <a:gd name="connsiteY0" fmla="*/ 0 h 5119953"/>
              <a:gd name="connsiteX1" fmla="*/ 127000 w 6260282"/>
              <a:gd name="connsiteY1" fmla="*/ 0 h 5119953"/>
              <a:gd name="connsiteX2" fmla="*/ 127000 w 6260282"/>
              <a:gd name="connsiteY2" fmla="*/ 762000 h 5119953"/>
              <a:gd name="connsiteX3" fmla="*/ 6260282 w 6260282"/>
              <a:gd name="connsiteY3" fmla="*/ 4294452 h 5119953"/>
              <a:gd name="connsiteX4" fmla="*/ 6196782 w 6260282"/>
              <a:gd name="connsiteY4" fmla="*/ 4357952 h 5119953"/>
              <a:gd name="connsiteX5" fmla="*/ 6196782 w 6260282"/>
              <a:gd name="connsiteY5" fmla="*/ 5119953 h 5119953"/>
              <a:gd name="connsiteX6" fmla="*/ 6069782 w 6260282"/>
              <a:gd name="connsiteY6" fmla="*/ 5119953 h 5119953"/>
              <a:gd name="connsiteX0" fmla="*/ 0 w 6196782"/>
              <a:gd name="connsiteY0" fmla="*/ 0 h 5119953"/>
              <a:gd name="connsiteX1" fmla="*/ 127000 w 6196782"/>
              <a:gd name="connsiteY1" fmla="*/ 0 h 5119953"/>
              <a:gd name="connsiteX2" fmla="*/ 127000 w 6196782"/>
              <a:gd name="connsiteY2" fmla="*/ 762000 h 5119953"/>
              <a:gd name="connsiteX3" fmla="*/ 190500 w 6196782"/>
              <a:gd name="connsiteY3" fmla="*/ 825500 h 5119953"/>
              <a:gd name="connsiteX4" fmla="*/ 6196782 w 6196782"/>
              <a:gd name="connsiteY4" fmla="*/ 4357952 h 5119953"/>
              <a:gd name="connsiteX5" fmla="*/ 6196782 w 6196782"/>
              <a:gd name="connsiteY5" fmla="*/ 5119953 h 5119953"/>
              <a:gd name="connsiteX6" fmla="*/ 6069782 w 6196782"/>
              <a:gd name="connsiteY6" fmla="*/ 5119953 h 5119953"/>
              <a:gd name="connsiteX0" fmla="*/ 0 w 6196782"/>
              <a:gd name="connsiteY0" fmla="*/ 0 h 5119953"/>
              <a:gd name="connsiteX1" fmla="*/ 127000 w 6196782"/>
              <a:gd name="connsiteY1" fmla="*/ 0 h 5119953"/>
              <a:gd name="connsiteX2" fmla="*/ 127000 w 6196782"/>
              <a:gd name="connsiteY2" fmla="*/ 762000 h 5119953"/>
              <a:gd name="connsiteX3" fmla="*/ 190500 w 6196782"/>
              <a:gd name="connsiteY3" fmla="*/ 825500 h 5119953"/>
              <a:gd name="connsiteX4" fmla="*/ 127000 w 6196782"/>
              <a:gd name="connsiteY4" fmla="*/ 889000 h 5119953"/>
              <a:gd name="connsiteX5" fmla="*/ 6196782 w 6196782"/>
              <a:gd name="connsiteY5" fmla="*/ 5119953 h 5119953"/>
              <a:gd name="connsiteX6" fmla="*/ 6069782 w 6196782"/>
              <a:gd name="connsiteY6" fmla="*/ 5119953 h 5119953"/>
              <a:gd name="connsiteX0" fmla="*/ 0 w 6069782"/>
              <a:gd name="connsiteY0" fmla="*/ 0 h 5119953"/>
              <a:gd name="connsiteX1" fmla="*/ 127000 w 6069782"/>
              <a:gd name="connsiteY1" fmla="*/ 0 h 5119953"/>
              <a:gd name="connsiteX2" fmla="*/ 127000 w 6069782"/>
              <a:gd name="connsiteY2" fmla="*/ 762000 h 5119953"/>
              <a:gd name="connsiteX3" fmla="*/ 190500 w 6069782"/>
              <a:gd name="connsiteY3" fmla="*/ 825500 h 5119953"/>
              <a:gd name="connsiteX4" fmla="*/ 127000 w 6069782"/>
              <a:gd name="connsiteY4" fmla="*/ 889000 h 5119953"/>
              <a:gd name="connsiteX5" fmla="*/ 127000 w 6069782"/>
              <a:gd name="connsiteY5" fmla="*/ 1651001 h 5119953"/>
              <a:gd name="connsiteX6" fmla="*/ 6069782 w 6069782"/>
              <a:gd name="connsiteY6" fmla="*/ 5119953 h 5119953"/>
              <a:gd name="connsiteX0" fmla="*/ 0 w 190500"/>
              <a:gd name="connsiteY0" fmla="*/ 0 h 1651001"/>
              <a:gd name="connsiteX1" fmla="*/ 127000 w 190500"/>
              <a:gd name="connsiteY1" fmla="*/ 0 h 1651001"/>
              <a:gd name="connsiteX2" fmla="*/ 127000 w 190500"/>
              <a:gd name="connsiteY2" fmla="*/ 762000 h 1651001"/>
              <a:gd name="connsiteX3" fmla="*/ 190500 w 190500"/>
              <a:gd name="connsiteY3" fmla="*/ 825500 h 1651001"/>
              <a:gd name="connsiteX4" fmla="*/ 127000 w 190500"/>
              <a:gd name="connsiteY4" fmla="*/ 889000 h 1651001"/>
              <a:gd name="connsiteX5" fmla="*/ 127000 w 190500"/>
              <a:gd name="connsiteY5" fmla="*/ 1651001 h 1651001"/>
              <a:gd name="connsiteX6" fmla="*/ 0 w 190500"/>
              <a:gd name="connsiteY6" fmla="*/ 1651001 h 1651001"/>
              <a:gd name="connsiteX0" fmla="*/ 0 w 1780650"/>
              <a:gd name="connsiteY0" fmla="*/ 0 h 5119953"/>
              <a:gd name="connsiteX1" fmla="*/ 1717150 w 1780650"/>
              <a:gd name="connsiteY1" fmla="*/ 3468952 h 5119953"/>
              <a:gd name="connsiteX2" fmla="*/ 1717150 w 1780650"/>
              <a:gd name="connsiteY2" fmla="*/ 4230952 h 5119953"/>
              <a:gd name="connsiteX3" fmla="*/ 1780650 w 1780650"/>
              <a:gd name="connsiteY3" fmla="*/ 4294452 h 5119953"/>
              <a:gd name="connsiteX4" fmla="*/ 1717150 w 1780650"/>
              <a:gd name="connsiteY4" fmla="*/ 4357952 h 5119953"/>
              <a:gd name="connsiteX5" fmla="*/ 1717150 w 1780650"/>
              <a:gd name="connsiteY5" fmla="*/ 5119953 h 5119953"/>
              <a:gd name="connsiteX6" fmla="*/ 1590150 w 1780650"/>
              <a:gd name="connsiteY6" fmla="*/ 5119953 h 5119953"/>
              <a:gd name="connsiteX0" fmla="*/ 0 w 1780650"/>
              <a:gd name="connsiteY0" fmla="*/ 0 h 5119953"/>
              <a:gd name="connsiteX1" fmla="*/ 33271 w 1780650"/>
              <a:gd name="connsiteY1" fmla="*/ 0 h 5119953"/>
              <a:gd name="connsiteX2" fmla="*/ 1717150 w 1780650"/>
              <a:gd name="connsiteY2" fmla="*/ 4230952 h 5119953"/>
              <a:gd name="connsiteX3" fmla="*/ 1780650 w 1780650"/>
              <a:gd name="connsiteY3" fmla="*/ 4294452 h 5119953"/>
              <a:gd name="connsiteX4" fmla="*/ 1717150 w 1780650"/>
              <a:gd name="connsiteY4" fmla="*/ 4357952 h 5119953"/>
              <a:gd name="connsiteX5" fmla="*/ 1717150 w 1780650"/>
              <a:gd name="connsiteY5" fmla="*/ 5119953 h 5119953"/>
              <a:gd name="connsiteX6" fmla="*/ 1590150 w 1780650"/>
              <a:gd name="connsiteY6" fmla="*/ 5119953 h 5119953"/>
              <a:gd name="connsiteX0" fmla="*/ 0 w 1780650"/>
              <a:gd name="connsiteY0" fmla="*/ 0 h 5119953"/>
              <a:gd name="connsiteX1" fmla="*/ 33271 w 1780650"/>
              <a:gd name="connsiteY1" fmla="*/ 0 h 5119953"/>
              <a:gd name="connsiteX2" fmla="*/ 33271 w 1780650"/>
              <a:gd name="connsiteY2" fmla="*/ 762000 h 5119953"/>
              <a:gd name="connsiteX3" fmla="*/ 1780650 w 1780650"/>
              <a:gd name="connsiteY3" fmla="*/ 4294452 h 5119953"/>
              <a:gd name="connsiteX4" fmla="*/ 1717150 w 1780650"/>
              <a:gd name="connsiteY4" fmla="*/ 4357952 h 5119953"/>
              <a:gd name="connsiteX5" fmla="*/ 1717150 w 1780650"/>
              <a:gd name="connsiteY5" fmla="*/ 5119953 h 5119953"/>
              <a:gd name="connsiteX6" fmla="*/ 1590150 w 1780650"/>
              <a:gd name="connsiteY6" fmla="*/ 5119953 h 5119953"/>
              <a:gd name="connsiteX0" fmla="*/ 0 w 1717150"/>
              <a:gd name="connsiteY0" fmla="*/ 0 h 5119953"/>
              <a:gd name="connsiteX1" fmla="*/ 33271 w 1717150"/>
              <a:gd name="connsiteY1" fmla="*/ 0 h 5119953"/>
              <a:gd name="connsiteX2" fmla="*/ 33271 w 1717150"/>
              <a:gd name="connsiteY2" fmla="*/ 762000 h 5119953"/>
              <a:gd name="connsiteX3" fmla="*/ 49907 w 1717150"/>
              <a:gd name="connsiteY3" fmla="*/ 825500 h 5119953"/>
              <a:gd name="connsiteX4" fmla="*/ 1717150 w 1717150"/>
              <a:gd name="connsiteY4" fmla="*/ 4357952 h 5119953"/>
              <a:gd name="connsiteX5" fmla="*/ 1717150 w 1717150"/>
              <a:gd name="connsiteY5" fmla="*/ 5119953 h 5119953"/>
              <a:gd name="connsiteX6" fmla="*/ 1590150 w 1717150"/>
              <a:gd name="connsiteY6" fmla="*/ 5119953 h 5119953"/>
              <a:gd name="connsiteX0" fmla="*/ 0 w 1717150"/>
              <a:gd name="connsiteY0" fmla="*/ 0 h 5119953"/>
              <a:gd name="connsiteX1" fmla="*/ 33271 w 1717150"/>
              <a:gd name="connsiteY1" fmla="*/ 0 h 5119953"/>
              <a:gd name="connsiteX2" fmla="*/ 33271 w 1717150"/>
              <a:gd name="connsiteY2" fmla="*/ 762000 h 5119953"/>
              <a:gd name="connsiteX3" fmla="*/ 49907 w 1717150"/>
              <a:gd name="connsiteY3" fmla="*/ 825500 h 5119953"/>
              <a:gd name="connsiteX4" fmla="*/ 33271 w 1717150"/>
              <a:gd name="connsiteY4" fmla="*/ 889000 h 5119953"/>
              <a:gd name="connsiteX5" fmla="*/ 1717150 w 1717150"/>
              <a:gd name="connsiteY5" fmla="*/ 5119953 h 5119953"/>
              <a:gd name="connsiteX6" fmla="*/ 1590150 w 1717150"/>
              <a:gd name="connsiteY6" fmla="*/ 5119953 h 5119953"/>
              <a:gd name="connsiteX0" fmla="*/ 0 w 1590150"/>
              <a:gd name="connsiteY0" fmla="*/ 0 h 5119953"/>
              <a:gd name="connsiteX1" fmla="*/ 33271 w 1590150"/>
              <a:gd name="connsiteY1" fmla="*/ 0 h 5119953"/>
              <a:gd name="connsiteX2" fmla="*/ 33271 w 1590150"/>
              <a:gd name="connsiteY2" fmla="*/ 762000 h 5119953"/>
              <a:gd name="connsiteX3" fmla="*/ 49907 w 1590150"/>
              <a:gd name="connsiteY3" fmla="*/ 825500 h 5119953"/>
              <a:gd name="connsiteX4" fmla="*/ 33271 w 1590150"/>
              <a:gd name="connsiteY4" fmla="*/ 889000 h 5119953"/>
              <a:gd name="connsiteX5" fmla="*/ 33271 w 1590150"/>
              <a:gd name="connsiteY5" fmla="*/ 1651001 h 5119953"/>
              <a:gd name="connsiteX6" fmla="*/ 1590150 w 1590150"/>
              <a:gd name="connsiteY6" fmla="*/ 5119953 h 5119953"/>
              <a:gd name="connsiteX0" fmla="*/ 0 w 49907"/>
              <a:gd name="connsiteY0" fmla="*/ 0 h 1651001"/>
              <a:gd name="connsiteX1" fmla="*/ 33271 w 49907"/>
              <a:gd name="connsiteY1" fmla="*/ 0 h 1651001"/>
              <a:gd name="connsiteX2" fmla="*/ 33271 w 49907"/>
              <a:gd name="connsiteY2" fmla="*/ 762000 h 1651001"/>
              <a:gd name="connsiteX3" fmla="*/ 49907 w 49907"/>
              <a:gd name="connsiteY3" fmla="*/ 825500 h 1651001"/>
              <a:gd name="connsiteX4" fmla="*/ 33271 w 49907"/>
              <a:gd name="connsiteY4" fmla="*/ 889000 h 1651001"/>
              <a:gd name="connsiteX5" fmla="*/ 33271 w 49907"/>
              <a:gd name="connsiteY5" fmla="*/ 1651001 h 1651001"/>
              <a:gd name="connsiteX6" fmla="*/ 0 w 49907"/>
              <a:gd name="connsiteY6" fmla="*/ 1651001 h 1651001"/>
              <a:gd name="connsiteX0" fmla="*/ 0 w 1055626"/>
              <a:gd name="connsiteY0" fmla="*/ 0 h 5119953"/>
              <a:gd name="connsiteX1" fmla="*/ 1038990 w 1055626"/>
              <a:gd name="connsiteY1" fmla="*/ 3468952 h 5119953"/>
              <a:gd name="connsiteX2" fmla="*/ 1038990 w 1055626"/>
              <a:gd name="connsiteY2" fmla="*/ 4230952 h 5119953"/>
              <a:gd name="connsiteX3" fmla="*/ 1055626 w 1055626"/>
              <a:gd name="connsiteY3" fmla="*/ 4294452 h 5119953"/>
              <a:gd name="connsiteX4" fmla="*/ 1038990 w 1055626"/>
              <a:gd name="connsiteY4" fmla="*/ 4357952 h 5119953"/>
              <a:gd name="connsiteX5" fmla="*/ 1038990 w 1055626"/>
              <a:gd name="connsiteY5" fmla="*/ 5119953 h 5119953"/>
              <a:gd name="connsiteX6" fmla="*/ 1005719 w 1055626"/>
              <a:gd name="connsiteY6" fmla="*/ 5119953 h 5119953"/>
              <a:gd name="connsiteX0" fmla="*/ 0 w 1055626"/>
              <a:gd name="connsiteY0" fmla="*/ 0 h 5119953"/>
              <a:gd name="connsiteX1" fmla="*/ 21043 w 1055626"/>
              <a:gd name="connsiteY1" fmla="*/ 0 h 5119953"/>
              <a:gd name="connsiteX2" fmla="*/ 1038990 w 1055626"/>
              <a:gd name="connsiteY2" fmla="*/ 4230952 h 5119953"/>
              <a:gd name="connsiteX3" fmla="*/ 1055626 w 1055626"/>
              <a:gd name="connsiteY3" fmla="*/ 4294452 h 5119953"/>
              <a:gd name="connsiteX4" fmla="*/ 1038990 w 1055626"/>
              <a:gd name="connsiteY4" fmla="*/ 4357952 h 5119953"/>
              <a:gd name="connsiteX5" fmla="*/ 1038990 w 1055626"/>
              <a:gd name="connsiteY5" fmla="*/ 5119953 h 5119953"/>
              <a:gd name="connsiteX6" fmla="*/ 1005719 w 1055626"/>
              <a:gd name="connsiteY6" fmla="*/ 5119953 h 5119953"/>
              <a:gd name="connsiteX0" fmla="*/ 0 w 1055626"/>
              <a:gd name="connsiteY0" fmla="*/ 0 h 5119953"/>
              <a:gd name="connsiteX1" fmla="*/ 21043 w 1055626"/>
              <a:gd name="connsiteY1" fmla="*/ 0 h 5119953"/>
              <a:gd name="connsiteX2" fmla="*/ 21043 w 1055626"/>
              <a:gd name="connsiteY2" fmla="*/ 762000 h 5119953"/>
              <a:gd name="connsiteX3" fmla="*/ 1055626 w 1055626"/>
              <a:gd name="connsiteY3" fmla="*/ 4294452 h 5119953"/>
              <a:gd name="connsiteX4" fmla="*/ 1038990 w 1055626"/>
              <a:gd name="connsiteY4" fmla="*/ 4357952 h 5119953"/>
              <a:gd name="connsiteX5" fmla="*/ 1038990 w 1055626"/>
              <a:gd name="connsiteY5" fmla="*/ 5119953 h 5119953"/>
              <a:gd name="connsiteX6" fmla="*/ 1005719 w 1055626"/>
              <a:gd name="connsiteY6" fmla="*/ 5119953 h 5119953"/>
              <a:gd name="connsiteX0" fmla="*/ 0 w 1038990"/>
              <a:gd name="connsiteY0" fmla="*/ 0 h 5119953"/>
              <a:gd name="connsiteX1" fmla="*/ 21043 w 1038990"/>
              <a:gd name="connsiteY1" fmla="*/ 0 h 5119953"/>
              <a:gd name="connsiteX2" fmla="*/ 21043 w 1038990"/>
              <a:gd name="connsiteY2" fmla="*/ 762000 h 5119953"/>
              <a:gd name="connsiteX3" fmla="*/ 31564 w 1038990"/>
              <a:gd name="connsiteY3" fmla="*/ 825500 h 5119953"/>
              <a:gd name="connsiteX4" fmla="*/ 1038990 w 1038990"/>
              <a:gd name="connsiteY4" fmla="*/ 4357952 h 5119953"/>
              <a:gd name="connsiteX5" fmla="*/ 1038990 w 1038990"/>
              <a:gd name="connsiteY5" fmla="*/ 5119953 h 5119953"/>
              <a:gd name="connsiteX6" fmla="*/ 1005719 w 1038990"/>
              <a:gd name="connsiteY6" fmla="*/ 5119953 h 5119953"/>
              <a:gd name="connsiteX0" fmla="*/ 0 w 1038990"/>
              <a:gd name="connsiteY0" fmla="*/ 0 h 5119953"/>
              <a:gd name="connsiteX1" fmla="*/ 21043 w 1038990"/>
              <a:gd name="connsiteY1" fmla="*/ 0 h 5119953"/>
              <a:gd name="connsiteX2" fmla="*/ 21043 w 1038990"/>
              <a:gd name="connsiteY2" fmla="*/ 762000 h 5119953"/>
              <a:gd name="connsiteX3" fmla="*/ 31564 w 1038990"/>
              <a:gd name="connsiteY3" fmla="*/ 825500 h 5119953"/>
              <a:gd name="connsiteX4" fmla="*/ 21043 w 1038990"/>
              <a:gd name="connsiteY4" fmla="*/ 889000 h 5119953"/>
              <a:gd name="connsiteX5" fmla="*/ 1038990 w 1038990"/>
              <a:gd name="connsiteY5" fmla="*/ 5119953 h 5119953"/>
              <a:gd name="connsiteX6" fmla="*/ 1005719 w 1038990"/>
              <a:gd name="connsiteY6" fmla="*/ 5119953 h 5119953"/>
              <a:gd name="connsiteX0" fmla="*/ 0 w 1005719"/>
              <a:gd name="connsiteY0" fmla="*/ 0 h 5119953"/>
              <a:gd name="connsiteX1" fmla="*/ 21043 w 1005719"/>
              <a:gd name="connsiteY1" fmla="*/ 0 h 5119953"/>
              <a:gd name="connsiteX2" fmla="*/ 21043 w 1005719"/>
              <a:gd name="connsiteY2" fmla="*/ 762000 h 5119953"/>
              <a:gd name="connsiteX3" fmla="*/ 31564 w 1005719"/>
              <a:gd name="connsiteY3" fmla="*/ 825500 h 5119953"/>
              <a:gd name="connsiteX4" fmla="*/ 21043 w 1005719"/>
              <a:gd name="connsiteY4" fmla="*/ 889000 h 5119953"/>
              <a:gd name="connsiteX5" fmla="*/ 21043 w 1005719"/>
              <a:gd name="connsiteY5" fmla="*/ 1651001 h 5119953"/>
              <a:gd name="connsiteX6" fmla="*/ 1005719 w 1005719"/>
              <a:gd name="connsiteY6" fmla="*/ 5119953 h 5119953"/>
              <a:gd name="connsiteX0" fmla="*/ 0 w 31564"/>
              <a:gd name="connsiteY0" fmla="*/ 0 h 1651001"/>
              <a:gd name="connsiteX1" fmla="*/ 21043 w 31564"/>
              <a:gd name="connsiteY1" fmla="*/ 0 h 1651001"/>
              <a:gd name="connsiteX2" fmla="*/ 21043 w 31564"/>
              <a:gd name="connsiteY2" fmla="*/ 762000 h 1651001"/>
              <a:gd name="connsiteX3" fmla="*/ 31564 w 31564"/>
              <a:gd name="connsiteY3" fmla="*/ 825500 h 1651001"/>
              <a:gd name="connsiteX4" fmla="*/ 21043 w 31564"/>
              <a:gd name="connsiteY4" fmla="*/ 889000 h 1651001"/>
              <a:gd name="connsiteX5" fmla="*/ 21043 w 31564"/>
              <a:gd name="connsiteY5" fmla="*/ 1651001 h 1651001"/>
              <a:gd name="connsiteX6" fmla="*/ 0 w 31564"/>
              <a:gd name="connsiteY6" fmla="*/ 1651001 h 1651001"/>
              <a:gd name="connsiteX0" fmla="*/ 0 w 357403"/>
              <a:gd name="connsiteY0" fmla="*/ 0 h 4543010"/>
              <a:gd name="connsiteX1" fmla="*/ 346882 w 357403"/>
              <a:gd name="connsiteY1" fmla="*/ 2892009 h 4543010"/>
              <a:gd name="connsiteX2" fmla="*/ 346882 w 357403"/>
              <a:gd name="connsiteY2" fmla="*/ 3654009 h 4543010"/>
              <a:gd name="connsiteX3" fmla="*/ 357403 w 357403"/>
              <a:gd name="connsiteY3" fmla="*/ 3717509 h 4543010"/>
              <a:gd name="connsiteX4" fmla="*/ 346882 w 357403"/>
              <a:gd name="connsiteY4" fmla="*/ 3781009 h 4543010"/>
              <a:gd name="connsiteX5" fmla="*/ 346882 w 357403"/>
              <a:gd name="connsiteY5" fmla="*/ 4543010 h 4543010"/>
              <a:gd name="connsiteX6" fmla="*/ 325839 w 357403"/>
              <a:gd name="connsiteY6" fmla="*/ 4543010 h 4543010"/>
              <a:gd name="connsiteX0" fmla="*/ 0 w 357403"/>
              <a:gd name="connsiteY0" fmla="*/ 0 h 4543010"/>
              <a:gd name="connsiteX1" fmla="*/ 7844 w 357403"/>
              <a:gd name="connsiteY1" fmla="*/ 0 h 4543010"/>
              <a:gd name="connsiteX2" fmla="*/ 346882 w 357403"/>
              <a:gd name="connsiteY2" fmla="*/ 3654009 h 4543010"/>
              <a:gd name="connsiteX3" fmla="*/ 357403 w 357403"/>
              <a:gd name="connsiteY3" fmla="*/ 3717509 h 4543010"/>
              <a:gd name="connsiteX4" fmla="*/ 346882 w 357403"/>
              <a:gd name="connsiteY4" fmla="*/ 3781009 h 4543010"/>
              <a:gd name="connsiteX5" fmla="*/ 346882 w 357403"/>
              <a:gd name="connsiteY5" fmla="*/ 4543010 h 4543010"/>
              <a:gd name="connsiteX6" fmla="*/ 325839 w 357403"/>
              <a:gd name="connsiteY6" fmla="*/ 4543010 h 4543010"/>
              <a:gd name="connsiteX0" fmla="*/ 0 w 357403"/>
              <a:gd name="connsiteY0" fmla="*/ 0 h 4543010"/>
              <a:gd name="connsiteX1" fmla="*/ 7844 w 357403"/>
              <a:gd name="connsiteY1" fmla="*/ 0 h 4543010"/>
              <a:gd name="connsiteX2" fmla="*/ 7844 w 357403"/>
              <a:gd name="connsiteY2" fmla="*/ 762000 h 4543010"/>
              <a:gd name="connsiteX3" fmla="*/ 357403 w 357403"/>
              <a:gd name="connsiteY3" fmla="*/ 3717509 h 4543010"/>
              <a:gd name="connsiteX4" fmla="*/ 346882 w 357403"/>
              <a:gd name="connsiteY4" fmla="*/ 3781009 h 4543010"/>
              <a:gd name="connsiteX5" fmla="*/ 346882 w 357403"/>
              <a:gd name="connsiteY5" fmla="*/ 4543010 h 4543010"/>
              <a:gd name="connsiteX6" fmla="*/ 325839 w 357403"/>
              <a:gd name="connsiteY6" fmla="*/ 4543010 h 4543010"/>
              <a:gd name="connsiteX0" fmla="*/ 0 w 346882"/>
              <a:gd name="connsiteY0" fmla="*/ 0 h 4543010"/>
              <a:gd name="connsiteX1" fmla="*/ 7844 w 346882"/>
              <a:gd name="connsiteY1" fmla="*/ 0 h 4543010"/>
              <a:gd name="connsiteX2" fmla="*/ 7844 w 346882"/>
              <a:gd name="connsiteY2" fmla="*/ 762000 h 4543010"/>
              <a:gd name="connsiteX3" fmla="*/ 11767 w 346882"/>
              <a:gd name="connsiteY3" fmla="*/ 825500 h 4543010"/>
              <a:gd name="connsiteX4" fmla="*/ 346882 w 346882"/>
              <a:gd name="connsiteY4" fmla="*/ 3781009 h 4543010"/>
              <a:gd name="connsiteX5" fmla="*/ 346882 w 346882"/>
              <a:gd name="connsiteY5" fmla="*/ 4543010 h 4543010"/>
              <a:gd name="connsiteX6" fmla="*/ 325839 w 346882"/>
              <a:gd name="connsiteY6" fmla="*/ 4543010 h 4543010"/>
              <a:gd name="connsiteX0" fmla="*/ 0 w 346882"/>
              <a:gd name="connsiteY0" fmla="*/ 0 h 4543010"/>
              <a:gd name="connsiteX1" fmla="*/ 7844 w 346882"/>
              <a:gd name="connsiteY1" fmla="*/ 0 h 4543010"/>
              <a:gd name="connsiteX2" fmla="*/ 7844 w 346882"/>
              <a:gd name="connsiteY2" fmla="*/ 762000 h 4543010"/>
              <a:gd name="connsiteX3" fmla="*/ 11767 w 346882"/>
              <a:gd name="connsiteY3" fmla="*/ 825500 h 4543010"/>
              <a:gd name="connsiteX4" fmla="*/ 7845 w 346882"/>
              <a:gd name="connsiteY4" fmla="*/ 889000 h 4543010"/>
              <a:gd name="connsiteX5" fmla="*/ 346882 w 346882"/>
              <a:gd name="connsiteY5" fmla="*/ 4543010 h 4543010"/>
              <a:gd name="connsiteX6" fmla="*/ 325839 w 346882"/>
              <a:gd name="connsiteY6" fmla="*/ 4543010 h 4543010"/>
              <a:gd name="connsiteX0" fmla="*/ 0 w 325839"/>
              <a:gd name="connsiteY0" fmla="*/ 0 h 4543010"/>
              <a:gd name="connsiteX1" fmla="*/ 7844 w 325839"/>
              <a:gd name="connsiteY1" fmla="*/ 0 h 4543010"/>
              <a:gd name="connsiteX2" fmla="*/ 7844 w 325839"/>
              <a:gd name="connsiteY2" fmla="*/ 762000 h 4543010"/>
              <a:gd name="connsiteX3" fmla="*/ 11767 w 325839"/>
              <a:gd name="connsiteY3" fmla="*/ 825500 h 4543010"/>
              <a:gd name="connsiteX4" fmla="*/ 7845 w 325839"/>
              <a:gd name="connsiteY4" fmla="*/ 889000 h 4543010"/>
              <a:gd name="connsiteX5" fmla="*/ 7845 w 325839"/>
              <a:gd name="connsiteY5" fmla="*/ 1651001 h 4543010"/>
              <a:gd name="connsiteX6" fmla="*/ 325839 w 325839"/>
              <a:gd name="connsiteY6" fmla="*/ 4543010 h 4543010"/>
              <a:gd name="connsiteX0" fmla="*/ 0 w 11767"/>
              <a:gd name="connsiteY0" fmla="*/ 0 h 1651001"/>
              <a:gd name="connsiteX1" fmla="*/ 7844 w 11767"/>
              <a:gd name="connsiteY1" fmla="*/ 0 h 1651001"/>
              <a:gd name="connsiteX2" fmla="*/ 7844 w 11767"/>
              <a:gd name="connsiteY2" fmla="*/ 762000 h 1651001"/>
              <a:gd name="connsiteX3" fmla="*/ 11767 w 11767"/>
              <a:gd name="connsiteY3" fmla="*/ 825500 h 1651001"/>
              <a:gd name="connsiteX4" fmla="*/ 7845 w 11767"/>
              <a:gd name="connsiteY4" fmla="*/ 889000 h 1651001"/>
              <a:gd name="connsiteX5" fmla="*/ 7845 w 11767"/>
              <a:gd name="connsiteY5" fmla="*/ 1651001 h 1651001"/>
              <a:gd name="connsiteX6" fmla="*/ 0 w 11767"/>
              <a:gd name="connsiteY6" fmla="*/ 1651001 h 1651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767" h="1651001">
                <a:moveTo>
                  <a:pt x="0" y="0"/>
                </a:moveTo>
                <a:lnTo>
                  <a:pt x="7844" y="0"/>
                </a:lnTo>
                <a:lnTo>
                  <a:pt x="7844" y="762000"/>
                </a:lnTo>
                <a:lnTo>
                  <a:pt x="11767" y="825500"/>
                </a:lnTo>
                <a:lnTo>
                  <a:pt x="7845" y="889000"/>
                </a:lnTo>
                <a:lnTo>
                  <a:pt x="7845" y="1651001"/>
                </a:lnTo>
                <a:lnTo>
                  <a:pt x="0" y="1651001"/>
                </a:lnTo>
              </a:path>
            </a:pathLst>
          </a:cu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76" name="SingleChevron" hidden="1">
            <a:extLst>
              <a:ext uri="{FF2B5EF4-FFF2-40B4-BE49-F238E27FC236}">
                <a16:creationId xmlns:a16="http://schemas.microsoft.com/office/drawing/2014/main" id="{7898EE2F-B218-4EB9-B913-72E6685BFE95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 bwMode="gray">
          <a:xfrm>
            <a:off x="4455754" y="3859225"/>
            <a:ext cx="666837" cy="1523647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77" name="DoubleChevron" hidden="1">
            <a:extLst>
              <a:ext uri="{FF2B5EF4-FFF2-40B4-BE49-F238E27FC236}">
                <a16:creationId xmlns:a16="http://schemas.microsoft.com/office/drawing/2014/main" id="{562DD061-7158-4FF3-A8CA-605D08EA8CF1}"/>
              </a:ext>
            </a:extLst>
          </p:cNvPr>
          <p:cNvGrpSpPr>
            <a:grpSpLocks noChangeAspect="1"/>
          </p:cNvGrpSpPr>
          <p:nvPr>
            <p:custDataLst>
              <p:tags r:id="rId23"/>
            </p:custDataLst>
          </p:nvPr>
        </p:nvGrpSpPr>
        <p:grpSpPr bwMode="gray">
          <a:xfrm>
            <a:off x="3591534" y="3859225"/>
            <a:ext cx="1014461" cy="1523647"/>
            <a:chOff x="1270000" y="1270000"/>
            <a:chExt cx="2409032" cy="3619500"/>
          </a:xfrm>
          <a:solidFill>
            <a:schemeClr val="accent3"/>
          </a:solidFill>
        </p:grpSpPr>
        <p:sp>
          <p:nvSpPr>
            <p:cNvPr id="78" name="Chevron1">
              <a:extLst>
                <a:ext uri="{FF2B5EF4-FFF2-40B4-BE49-F238E27FC236}">
                  <a16:creationId xmlns:a16="http://schemas.microsoft.com/office/drawing/2014/main" id="{F8320226-223E-441D-9FF7-B130E9C762B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80" name="Chevron2">
              <a:extLst>
                <a:ext uri="{FF2B5EF4-FFF2-40B4-BE49-F238E27FC236}">
                  <a16:creationId xmlns:a16="http://schemas.microsoft.com/office/drawing/2014/main" id="{EC4C17A6-7FEE-420D-8D06-BECE3877DF8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 bwMode="gray"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1" name="DoubleChevron2" hidden="1">
            <a:extLst>
              <a:ext uri="{FF2B5EF4-FFF2-40B4-BE49-F238E27FC236}">
                <a16:creationId xmlns:a16="http://schemas.microsoft.com/office/drawing/2014/main" id="{3CE9F72B-3EBB-4DB5-94E4-C98D26988CA3}"/>
              </a:ext>
            </a:extLst>
          </p:cNvPr>
          <p:cNvGrpSpPr>
            <a:grpSpLocks noChangeAspect="1"/>
          </p:cNvGrpSpPr>
          <p:nvPr>
            <p:custDataLst>
              <p:tags r:id="rId24"/>
            </p:custDataLst>
          </p:nvPr>
        </p:nvGrpSpPr>
        <p:grpSpPr bwMode="gray">
          <a:xfrm>
            <a:off x="2498684" y="3859225"/>
            <a:ext cx="1243091" cy="1523647"/>
            <a:chOff x="1270000" y="1270000"/>
            <a:chExt cx="2951957" cy="3619500"/>
          </a:xfrm>
          <a:solidFill>
            <a:schemeClr val="accent3"/>
          </a:solidFill>
        </p:grpSpPr>
        <p:sp>
          <p:nvSpPr>
            <p:cNvPr id="83" name="Chevron1">
              <a:extLst>
                <a:ext uri="{FF2B5EF4-FFF2-40B4-BE49-F238E27FC236}">
                  <a16:creationId xmlns:a16="http://schemas.microsoft.com/office/drawing/2014/main" id="{594F4992-6679-4BA3-BE98-750BDC08988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84" name="Chevron2">
              <a:extLst>
                <a:ext uri="{FF2B5EF4-FFF2-40B4-BE49-F238E27FC236}">
                  <a16:creationId xmlns:a16="http://schemas.microsoft.com/office/drawing/2014/main" id="{F80B62AB-EFCC-46EE-8999-1E9913F34866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 bwMode="gray"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85" name="Freeform 54">
            <a:extLst>
              <a:ext uri="{FF2B5EF4-FFF2-40B4-BE49-F238E27FC236}">
                <a16:creationId xmlns:a16="http://schemas.microsoft.com/office/drawing/2014/main" id="{401134E3-F503-49D9-8C78-8979F170BD14}"/>
              </a:ext>
            </a:extLst>
          </p:cNvPr>
          <p:cNvSpPr>
            <a:spLocks noEditPoints="1"/>
          </p:cNvSpPr>
          <p:nvPr/>
        </p:nvSpPr>
        <p:spPr bwMode="gray">
          <a:xfrm>
            <a:off x="11387787" y="303929"/>
            <a:ext cx="308913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86" name="BoundingBox" hidden="1">
            <a:extLst>
              <a:ext uri="{FF2B5EF4-FFF2-40B4-BE49-F238E27FC236}">
                <a16:creationId xmlns:a16="http://schemas.microsoft.com/office/drawing/2014/main" id="{B5A3FDFC-1DCD-4704-9040-A0B30CC5ABAA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gray">
          <a:xfrm>
            <a:off x="9792047" y="1258664"/>
            <a:ext cx="1904653" cy="1904912"/>
          </a:xfrm>
          <a:prstGeom prst="rect">
            <a:avLst/>
          </a:prstGeom>
          <a:noFill/>
          <a:ln w="9525"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87" name="Header2" hidden="1">
            <a:extLst>
              <a:ext uri="{FF2B5EF4-FFF2-40B4-BE49-F238E27FC236}">
                <a16:creationId xmlns:a16="http://schemas.microsoft.com/office/drawing/2014/main" id="{D8937F6F-E564-4D59-913D-6DFB498B00A6}"/>
              </a:ext>
            </a:extLst>
          </p:cNvPr>
          <p:cNvGrpSpPr>
            <a:grpSpLocks/>
          </p:cNvGrpSpPr>
          <p:nvPr userDrawn="1">
            <p:custDataLst>
              <p:tags r:id="rId26"/>
            </p:custDataLst>
          </p:nvPr>
        </p:nvGrpSpPr>
        <p:grpSpPr bwMode="gray">
          <a:xfrm>
            <a:off x="508000" y="2793353"/>
            <a:ext cx="2227807" cy="264627"/>
            <a:chOff x="495234" y="2695182"/>
            <a:chExt cx="4063471" cy="264688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17C212D2-0625-4246-A2D5-CD124FB1D78A}"/>
                </a:ext>
              </a:extLst>
            </p:cNvPr>
            <p:cNvSpPr txBox="1"/>
            <p:nvPr/>
          </p:nvSpPr>
          <p:spPr bwMode="gray">
            <a:xfrm>
              <a:off x="495234" y="2695182"/>
              <a:ext cx="4063471" cy="2646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18288" rtlCol="0" anchor="b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r>
                <a:rPr lang="en-US" sz="1600" b="1" dirty="0">
                  <a:solidFill>
                    <a:schemeClr val="dk1"/>
                  </a:solidFill>
                </a:rPr>
                <a:t>Column header</a:t>
              </a:r>
            </a:p>
          </p:txBody>
        </p: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1B22B6BB-9D05-4069-A683-7E117A546D4E}"/>
                </a:ext>
              </a:extLst>
            </p:cNvPr>
            <p:cNvCxnSpPr/>
            <p:nvPr/>
          </p:nvCxnSpPr>
          <p:spPr bwMode="gray">
            <a:xfrm>
              <a:off x="495234" y="2959870"/>
              <a:ext cx="4063471" cy="0"/>
            </a:xfrm>
            <a:prstGeom prst="bentConnector3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" name="BulletRectangle3" hidden="1">
            <a:extLst>
              <a:ext uri="{FF2B5EF4-FFF2-40B4-BE49-F238E27FC236}">
                <a16:creationId xmlns:a16="http://schemas.microsoft.com/office/drawing/2014/main" id="{6D6DC9EC-9FFC-424E-BB74-18219926E8D0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 bwMode="gray">
          <a:xfrm>
            <a:off x="5552676" y="1120102"/>
            <a:ext cx="1524198" cy="152364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txBody>
          <a:bodyPr vert="horz" wrap="square" lIns="71992" tIns="71992" rIns="71992" bIns="71992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600" dirty="0">
                <a:solidFill>
                  <a:schemeClr val="bg1"/>
                </a:solidFill>
              </a:rPr>
              <a:t>Bullet</a:t>
            </a:r>
          </a:p>
          <a:p>
            <a:pPr lvl="1">
              <a:buClr>
                <a:schemeClr val="bg1"/>
              </a:buClr>
            </a:pPr>
            <a:r>
              <a:rPr lang="en-US" sz="1600" dirty="0">
                <a:solidFill>
                  <a:schemeClr val="bg1"/>
                </a:solidFill>
              </a:rPr>
              <a:t>Bullet</a:t>
            </a:r>
          </a:p>
        </p:txBody>
      </p:sp>
      <p:grpSp>
        <p:nvGrpSpPr>
          <p:cNvPr id="91" name="KeyTakeaway" hidden="1">
            <a:extLst>
              <a:ext uri="{FF2B5EF4-FFF2-40B4-BE49-F238E27FC236}">
                <a16:creationId xmlns:a16="http://schemas.microsoft.com/office/drawing/2014/main" id="{308E0E73-1CA2-40BD-84E8-B98AE0F69692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507999" y="4304303"/>
            <a:ext cx="1524198" cy="1523647"/>
            <a:chOff x="1003300" y="4305300"/>
            <a:chExt cx="1524000" cy="1524000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9400BC54-3681-4A3C-A9F1-385004C859FF}"/>
                </a:ext>
              </a:extLst>
            </p:cNvPr>
            <p:cNvSpPr txBox="1"/>
            <p:nvPr/>
          </p:nvSpPr>
          <p:spPr bwMode="gray">
            <a:xfrm>
              <a:off x="1003300" y="4305300"/>
              <a:ext cx="1524000" cy="1524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txBody>
            <a:bodyPr vert="horz" wrap="square" lIns="76200" tIns="76200" rIns="76200" bIns="76200" rtlCol="0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r>
                <a:rPr lang="en-US" sz="1600" b="1" dirty="0">
                  <a:solidFill>
                    <a:schemeClr val="tx2"/>
                  </a:solidFill>
                </a:rPr>
                <a:t>Key takeaway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D32154C6-721A-4FC1-B522-9D3945F9354A}"/>
                </a:ext>
              </a:extLst>
            </p:cNvPr>
            <p:cNvSpPr txBox="1"/>
            <p:nvPr/>
          </p:nvSpPr>
          <p:spPr bwMode="gray">
            <a:xfrm>
              <a:off x="1003300" y="4622800"/>
              <a:ext cx="1143000" cy="645119"/>
            </a:xfrm>
            <a:prstGeom prst="rect">
              <a:avLst/>
            </a:prstGeom>
          </p:spPr>
          <p:txBody>
            <a:bodyPr vert="horz" wrap="square" lIns="75600" tIns="75600" rIns="75600" bIns="75600" rtlCol="0">
              <a:spAutoFit/>
            </a:bodyPr>
            <a:lstStyle>
              <a:defPPr>
                <a:defRPr lang="en-US"/>
              </a:defPPr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5" baseline="0">
                  <a:latin typeface="+mn-lt"/>
                </a:defRPr>
              </a:lvl9pPr>
            </a:lstStyle>
            <a:p>
              <a:pPr lvl="1"/>
              <a:r>
                <a:rPr lang="en-US" sz="1600" dirty="0"/>
                <a:t>Text</a:t>
              </a:r>
            </a:p>
            <a:p>
              <a:pPr lvl="1"/>
              <a:r>
                <a:rPr lang="en-US" sz="1600" dirty="0"/>
                <a:t>...</a:t>
              </a:r>
            </a:p>
          </p:txBody>
        </p:sp>
      </p:grpSp>
      <p:grpSp>
        <p:nvGrpSpPr>
          <p:cNvPr id="94" name="TitleBox" hidden="1">
            <a:extLst>
              <a:ext uri="{FF2B5EF4-FFF2-40B4-BE49-F238E27FC236}">
                <a16:creationId xmlns:a16="http://schemas.microsoft.com/office/drawing/2014/main" id="{DE908860-EE8A-480A-9045-5B8F66C18267}"/>
              </a:ext>
            </a:extLst>
          </p:cNvPr>
          <p:cNvGrpSpPr>
            <a:grpSpLocks/>
          </p:cNvGrpSpPr>
          <p:nvPr userDrawn="1">
            <p:custDataLst>
              <p:tags r:id="rId28"/>
            </p:custDataLst>
          </p:nvPr>
        </p:nvGrpSpPr>
        <p:grpSpPr bwMode="gray">
          <a:xfrm>
            <a:off x="5557575" y="1157265"/>
            <a:ext cx="3962916" cy="4710610"/>
            <a:chOff x="254000" y="1142999"/>
            <a:chExt cx="3962400" cy="4711701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4D70ED3-2BF0-4BB0-ADA6-BF8773C58DE5}"/>
                </a:ext>
              </a:extLst>
            </p:cNvPr>
            <p:cNvSpPr/>
            <p:nvPr/>
          </p:nvSpPr>
          <p:spPr bwMode="gray">
            <a:xfrm>
              <a:off x="254000" y="1143000"/>
              <a:ext cx="3962400" cy="47117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5F8663A8-33E8-4A0E-B208-F6F5C3113F22}"/>
                </a:ext>
              </a:extLst>
            </p:cNvPr>
            <p:cNvSpPr txBox="1"/>
            <p:nvPr/>
          </p:nvSpPr>
          <p:spPr bwMode="gray">
            <a:xfrm>
              <a:off x="254000" y="1142999"/>
              <a:ext cx="3962400" cy="40011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</p:spPr>
          <p:txBody>
            <a:bodyPr vert="horz" wrap="square" lIns="76200" tIns="76200" rIns="76200" bIns="76200" rtlCol="0" anchor="b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r>
                <a:rPr lang="en-US" sz="1600" b="1" dirty="0">
                  <a:solidFill>
                    <a:schemeClr val="lt1"/>
                  </a:solidFill>
                </a:rPr>
                <a:t>Heading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452F7B7-F8C3-4664-B009-A40B1B0CE827}"/>
                </a:ext>
              </a:extLst>
            </p:cNvPr>
            <p:cNvSpPr txBox="1"/>
            <p:nvPr/>
          </p:nvSpPr>
          <p:spPr bwMode="gray">
            <a:xfrm>
              <a:off x="317500" y="1606609"/>
              <a:ext cx="3835400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 sz="1600" dirty="0"/>
                <a:t>Text</a:t>
              </a:r>
            </a:p>
            <a:p>
              <a:pPr lvl="1"/>
              <a:r>
                <a:rPr lang="en-US" sz="1600" dirty="0"/>
                <a:t>Text</a:t>
              </a:r>
            </a:p>
          </p:txBody>
        </p:sp>
      </p:grpSp>
      <p:sp>
        <p:nvSpPr>
          <p:cNvPr id="98" name="RowHeader2" hidden="1">
            <a:extLst>
              <a:ext uri="{FF2B5EF4-FFF2-40B4-BE49-F238E27FC236}">
                <a16:creationId xmlns:a16="http://schemas.microsoft.com/office/drawing/2014/main" id="{A749D696-91F9-476D-AD24-6B5A3E62086B}"/>
              </a:ext>
            </a:extLst>
          </p:cNvPr>
          <p:cNvSpPr txBox="1">
            <a:spLocks/>
          </p:cNvSpPr>
          <p:nvPr userDrawn="1">
            <p:custDataLst>
              <p:tags r:id="rId29"/>
            </p:custDataLst>
          </p:nvPr>
        </p:nvSpPr>
        <p:spPr bwMode="gray">
          <a:xfrm>
            <a:off x="10617059" y="4274908"/>
            <a:ext cx="1079641" cy="584065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vert="horz" wrap="square" lIns="76182" tIns="76182" rIns="76182" bIns="76182" rtlCol="0" anchor="ctr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600" b="1" dirty="0">
                <a:solidFill>
                  <a:schemeClr val="bg1"/>
                </a:solidFill>
              </a:rPr>
              <a:t>Row header</a:t>
            </a:r>
          </a:p>
        </p:txBody>
      </p:sp>
      <p:sp>
        <p:nvSpPr>
          <p:cNvPr id="99" name="RowHeader1" hidden="1">
            <a:extLst>
              <a:ext uri="{FF2B5EF4-FFF2-40B4-BE49-F238E27FC236}">
                <a16:creationId xmlns:a16="http://schemas.microsoft.com/office/drawing/2014/main" id="{EDDA3747-5796-4ADC-910B-080238909267}"/>
              </a:ext>
            </a:extLst>
          </p:cNvPr>
          <p:cNvSpPr txBox="1">
            <a:spLocks/>
          </p:cNvSpPr>
          <p:nvPr userDrawn="1">
            <p:custDataLst>
              <p:tags r:id="rId30"/>
            </p:custDataLst>
          </p:nvPr>
        </p:nvSpPr>
        <p:spPr bwMode="gray">
          <a:xfrm>
            <a:off x="10617059" y="5000988"/>
            <a:ext cx="1079641" cy="584065"/>
          </a:xfrm>
          <a:prstGeom prst="rect">
            <a:avLst/>
          </a:prstGeom>
          <a:solidFill>
            <a:schemeClr val="accent1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76182" tIns="76182" rIns="76182" bIns="76182" rtlCol="0" anchor="ctr" anchorCtr="0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r>
              <a:rPr lang="en-US" sz="1600" b="1" dirty="0"/>
              <a:t>Row header</a:t>
            </a:r>
          </a:p>
        </p:txBody>
      </p:sp>
      <p:grpSp>
        <p:nvGrpSpPr>
          <p:cNvPr id="104" name="ConnectorRectangle" hidden="1">
            <a:extLst>
              <a:ext uri="{FF2B5EF4-FFF2-40B4-BE49-F238E27FC236}">
                <a16:creationId xmlns:a16="http://schemas.microsoft.com/office/drawing/2014/main" id="{2D938742-48DC-4033-92CB-92AA234D244E}"/>
              </a:ext>
            </a:extLst>
          </p:cNvPr>
          <p:cNvGrpSpPr>
            <a:grpSpLocks/>
          </p:cNvGrpSpPr>
          <p:nvPr userDrawn="1">
            <p:custDataLst>
              <p:tags r:id="rId31"/>
            </p:custDataLst>
          </p:nvPr>
        </p:nvGrpSpPr>
        <p:grpSpPr bwMode="gray">
          <a:xfrm>
            <a:off x="1016132" y="1015765"/>
            <a:ext cx="1867143" cy="1041159"/>
            <a:chOff x="0" y="0"/>
            <a:chExt cx="1612900" cy="787400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A6BC8E6-C7C2-4826-8777-8348038D0DDA}"/>
                </a:ext>
              </a:extLst>
            </p:cNvPr>
            <p:cNvSpPr txBox="1"/>
            <p:nvPr/>
          </p:nvSpPr>
          <p:spPr bwMode="gray">
            <a:xfrm>
              <a:off x="254000" y="0"/>
              <a:ext cx="1358900" cy="7874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txBody>
            <a:bodyPr vert="horz" wrap="square" lIns="76200" tIns="76200" rIns="76200" bIns="76200" rtlCol="0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 sz="1600" dirty="0"/>
                <a:t>Callout text</a:t>
              </a:r>
            </a:p>
            <a:p>
              <a:pPr lvl="1"/>
              <a:r>
                <a:rPr lang="en-US" sz="1600" dirty="0"/>
                <a:t>Callout text</a:t>
              </a:r>
            </a:p>
            <a:p>
              <a:pPr lvl="1"/>
              <a:r>
                <a:rPr lang="en-US" sz="1600" dirty="0"/>
                <a:t>Callout text</a:t>
              </a:r>
            </a:p>
          </p:txBody>
        </p: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D042FEF3-920F-4536-A73E-AD519548EB06}"/>
                </a:ext>
              </a:extLst>
            </p:cNvPr>
            <p:cNvCxnSpPr>
              <a:cxnSpLocks/>
              <a:stCxn id="105" idx="1"/>
            </p:cNvCxnSpPr>
            <p:nvPr/>
          </p:nvCxnSpPr>
          <p:spPr bwMode="gray">
            <a:xfrm flipH="1">
              <a:off x="0" y="393700"/>
              <a:ext cx="254000" cy="0"/>
            </a:xfrm>
            <a:prstGeom prst="straightConnector1">
              <a:avLst/>
            </a:prstGeom>
            <a:ln cmpd="sng">
              <a:solidFill>
                <a:schemeClr val="tx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TextOval" hidden="1">
            <a:extLst>
              <a:ext uri="{FF2B5EF4-FFF2-40B4-BE49-F238E27FC236}">
                <a16:creationId xmlns:a16="http://schemas.microsoft.com/office/drawing/2014/main" id="{37AC8FEE-CE54-445E-95C1-EE682A813699}"/>
              </a:ext>
            </a:extLst>
          </p:cNvPr>
          <p:cNvSpPr>
            <a:spLocks/>
          </p:cNvSpPr>
          <p:nvPr userDrawn="1">
            <p:custDataLst>
              <p:tags r:id="rId32"/>
            </p:custDataLst>
          </p:nvPr>
        </p:nvSpPr>
        <p:spPr bwMode="gray">
          <a:xfrm>
            <a:off x="10172501" y="3307584"/>
            <a:ext cx="1524198" cy="82530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182" tIns="76182" rIns="76182" bIns="76182" rtlCol="0" anchor="ctr" anchorCtr="1"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US" sz="1600" b="1" dirty="0">
                <a:solidFill>
                  <a:schemeClr val="bg1"/>
                </a:solidFill>
              </a:rPr>
              <a:t>Text oval</a:t>
            </a:r>
          </a:p>
        </p:txBody>
      </p:sp>
      <p:sp>
        <p:nvSpPr>
          <p:cNvPr id="112" name="TitleTrackerAlpha" hidden="1">
            <a:extLst>
              <a:ext uri="{FF2B5EF4-FFF2-40B4-BE49-F238E27FC236}">
                <a16:creationId xmlns:a16="http://schemas.microsoft.com/office/drawing/2014/main" id="{1BC04434-A811-4E6E-A8BA-88DFEEFF51FC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gray">
          <a:xfrm>
            <a:off x="507999" y="293464"/>
            <a:ext cx="482663" cy="482488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999" b="1" dirty="0">
                <a:solidFill>
                  <a:schemeClr val="bg1"/>
                </a:solidFill>
                <a:latin typeface="+mj-lt"/>
              </a:rPr>
              <a:t>A</a:t>
            </a:r>
          </a:p>
        </p:txBody>
      </p:sp>
      <p:sp>
        <p:nvSpPr>
          <p:cNvPr id="150" name="TitleTrackerNum" hidden="1">
            <a:extLst>
              <a:ext uri="{FF2B5EF4-FFF2-40B4-BE49-F238E27FC236}">
                <a16:creationId xmlns:a16="http://schemas.microsoft.com/office/drawing/2014/main" id="{63CA2E8C-1A97-4045-9C7C-7C01328D4BB4}"/>
              </a:ext>
            </a:extLst>
          </p:cNvPr>
          <p:cNvSpPr/>
          <p:nvPr userDrawn="1">
            <p:custDataLst>
              <p:tags r:id="rId34"/>
            </p:custDataLst>
          </p:nvPr>
        </p:nvSpPr>
        <p:spPr bwMode="gray">
          <a:xfrm>
            <a:off x="507999" y="293464"/>
            <a:ext cx="482663" cy="482488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999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51" name="TrackerAlpha" hidden="1">
            <a:extLst>
              <a:ext uri="{FF2B5EF4-FFF2-40B4-BE49-F238E27FC236}">
                <a16:creationId xmlns:a16="http://schemas.microsoft.com/office/drawing/2014/main" id="{098D36EF-E96B-48A1-8088-718ABD7B0391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gray">
          <a:xfrm>
            <a:off x="1016132" y="1015765"/>
            <a:ext cx="284517" cy="284414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52" name="TrackerNum" hidden="1">
            <a:extLst>
              <a:ext uri="{FF2B5EF4-FFF2-40B4-BE49-F238E27FC236}">
                <a16:creationId xmlns:a16="http://schemas.microsoft.com/office/drawing/2014/main" id="{E4199E5F-C4BB-4A8B-8320-02FB2C9DC028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gray">
          <a:xfrm>
            <a:off x="1016132" y="1015765"/>
            <a:ext cx="284517" cy="284414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</a:t>
            </a:r>
          </a:p>
        </p:txBody>
      </p:sp>
      <p:cxnSp>
        <p:nvCxnSpPr>
          <p:cNvPr id="153" name="VerticalLine" hidden="1">
            <a:extLst>
              <a:ext uri="{FF2B5EF4-FFF2-40B4-BE49-F238E27FC236}">
                <a16:creationId xmlns:a16="http://schemas.microsoft.com/office/drawing/2014/main" id="{415EFFD0-E0BD-4F0A-9A20-40C19BA5CF3C}"/>
              </a:ext>
            </a:extLst>
          </p:cNvPr>
          <p:cNvCxnSpPr/>
          <p:nvPr userDrawn="1">
            <p:custDataLst>
              <p:tags r:id="rId37"/>
            </p:custDataLst>
          </p:nvPr>
        </p:nvCxnSpPr>
        <p:spPr bwMode="gray">
          <a:xfrm>
            <a:off x="3001055" y="1015765"/>
            <a:ext cx="0" cy="344090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VerticalLine2" hidden="1">
            <a:extLst>
              <a:ext uri="{FF2B5EF4-FFF2-40B4-BE49-F238E27FC236}">
                <a16:creationId xmlns:a16="http://schemas.microsoft.com/office/drawing/2014/main" id="{EBD1A72F-53E7-4D9B-845C-FD8E7848B0B4}"/>
              </a:ext>
            </a:extLst>
          </p:cNvPr>
          <p:cNvCxnSpPr/>
          <p:nvPr userDrawn="1">
            <p:custDataLst>
              <p:tags r:id="rId38"/>
            </p:custDataLst>
          </p:nvPr>
        </p:nvCxnSpPr>
        <p:spPr bwMode="gray">
          <a:xfrm>
            <a:off x="3184652" y="1015765"/>
            <a:ext cx="0" cy="3440903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VerticalLine3" hidden="1">
            <a:extLst>
              <a:ext uri="{FF2B5EF4-FFF2-40B4-BE49-F238E27FC236}">
                <a16:creationId xmlns:a16="http://schemas.microsoft.com/office/drawing/2014/main" id="{9BD3F4EE-1F03-4D61-98EE-FE1C937709FA}"/>
              </a:ext>
            </a:extLst>
          </p:cNvPr>
          <p:cNvCxnSpPr/>
          <p:nvPr userDrawn="1">
            <p:custDataLst>
              <p:tags r:id="rId39"/>
            </p:custDataLst>
          </p:nvPr>
        </p:nvCxnSpPr>
        <p:spPr bwMode="gray">
          <a:xfrm>
            <a:off x="3368248" y="1015765"/>
            <a:ext cx="0" cy="3440903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VerticalLine4" hidden="1">
            <a:extLst>
              <a:ext uri="{FF2B5EF4-FFF2-40B4-BE49-F238E27FC236}">
                <a16:creationId xmlns:a16="http://schemas.microsoft.com/office/drawing/2014/main" id="{43ABFBFC-57C2-485F-A3F0-D52C6F24E0F8}"/>
              </a:ext>
            </a:extLst>
          </p:cNvPr>
          <p:cNvCxnSpPr/>
          <p:nvPr userDrawn="1">
            <p:custDataLst>
              <p:tags r:id="rId40"/>
            </p:custDataLst>
          </p:nvPr>
        </p:nvCxnSpPr>
        <p:spPr bwMode="gray">
          <a:xfrm>
            <a:off x="3551846" y="1015765"/>
            <a:ext cx="0" cy="3440903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HorizontalLine" hidden="1">
            <a:extLst>
              <a:ext uri="{FF2B5EF4-FFF2-40B4-BE49-F238E27FC236}">
                <a16:creationId xmlns:a16="http://schemas.microsoft.com/office/drawing/2014/main" id="{FCF8930A-8B82-4E82-9BB1-820F6413BE50}"/>
              </a:ext>
            </a:extLst>
          </p:cNvPr>
          <p:cNvCxnSpPr/>
          <p:nvPr userDrawn="1">
            <p:custDataLst>
              <p:tags r:id="rId41"/>
            </p:custDataLst>
          </p:nvPr>
        </p:nvCxnSpPr>
        <p:spPr bwMode="gray">
          <a:xfrm>
            <a:off x="1016132" y="1085599"/>
            <a:ext cx="447098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HorizontalLine2" hidden="1">
            <a:extLst>
              <a:ext uri="{FF2B5EF4-FFF2-40B4-BE49-F238E27FC236}">
                <a16:creationId xmlns:a16="http://schemas.microsoft.com/office/drawing/2014/main" id="{068AA5AA-261F-47D6-849E-56FC5FD0269B}"/>
              </a:ext>
            </a:extLst>
          </p:cNvPr>
          <p:cNvCxnSpPr/>
          <p:nvPr userDrawn="1">
            <p:custDataLst>
              <p:tags r:id="rId42"/>
            </p:custDataLst>
          </p:nvPr>
        </p:nvCxnSpPr>
        <p:spPr bwMode="gray">
          <a:xfrm>
            <a:off x="1016132" y="1208337"/>
            <a:ext cx="4470982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HorizontalLine3" hidden="1">
            <a:extLst>
              <a:ext uri="{FF2B5EF4-FFF2-40B4-BE49-F238E27FC236}">
                <a16:creationId xmlns:a16="http://schemas.microsoft.com/office/drawing/2014/main" id="{C64EDAF5-C6F3-4B19-9C62-97F42F6A9605}"/>
              </a:ext>
            </a:extLst>
          </p:cNvPr>
          <p:cNvCxnSpPr/>
          <p:nvPr userDrawn="1">
            <p:custDataLst>
              <p:tags r:id="rId43"/>
            </p:custDataLst>
          </p:nvPr>
        </p:nvCxnSpPr>
        <p:spPr bwMode="gray">
          <a:xfrm>
            <a:off x="1016132" y="1331076"/>
            <a:ext cx="4470982" cy="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HorizontalLine4" hidden="1">
            <a:extLst>
              <a:ext uri="{FF2B5EF4-FFF2-40B4-BE49-F238E27FC236}">
                <a16:creationId xmlns:a16="http://schemas.microsoft.com/office/drawing/2014/main" id="{85692CE3-BED2-4A29-A265-6EE838DBBA25}"/>
              </a:ext>
            </a:extLst>
          </p:cNvPr>
          <p:cNvCxnSpPr/>
          <p:nvPr userDrawn="1">
            <p:custDataLst>
              <p:tags r:id="rId44"/>
            </p:custDataLst>
          </p:nvPr>
        </p:nvCxnSpPr>
        <p:spPr bwMode="gray">
          <a:xfrm>
            <a:off x="1016132" y="1453813"/>
            <a:ext cx="447098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1" name="Flow2" hidden="1">
            <a:extLst>
              <a:ext uri="{FF2B5EF4-FFF2-40B4-BE49-F238E27FC236}">
                <a16:creationId xmlns:a16="http://schemas.microsoft.com/office/drawing/2014/main" id="{2CDC8379-C48C-486E-852B-E8CCDF537764}"/>
              </a:ext>
            </a:extLst>
          </p:cNvPr>
          <p:cNvGrpSpPr/>
          <p:nvPr userDrawn="1">
            <p:custDataLst>
              <p:tags r:id="rId45"/>
            </p:custDataLst>
          </p:nvPr>
        </p:nvGrpSpPr>
        <p:grpSpPr bwMode="gray">
          <a:xfrm>
            <a:off x="4394558" y="2794673"/>
            <a:ext cx="1829038" cy="914188"/>
            <a:chOff x="5905500" y="3124200"/>
            <a:chExt cx="1828800" cy="914400"/>
          </a:xfrm>
        </p:grpSpPr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06CB0FD6-BB3C-4985-A626-51063C88E71F}"/>
                </a:ext>
              </a:extLst>
            </p:cNvPr>
            <p:cNvSpPr/>
            <p:nvPr>
              <p:custDataLst>
                <p:tags r:id="rId73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2D22FCB0-9EBD-4400-9174-1EBDD12FDBD8}"/>
                </a:ext>
              </a:extLst>
            </p:cNvPr>
            <p:cNvSpPr txBox="1"/>
            <p:nvPr>
              <p:custDataLst>
                <p:tags r:id="rId74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64" name="SplitFlow2" hidden="1">
            <a:extLst>
              <a:ext uri="{FF2B5EF4-FFF2-40B4-BE49-F238E27FC236}">
                <a16:creationId xmlns:a16="http://schemas.microsoft.com/office/drawing/2014/main" id="{E3226E14-0A01-4630-85AE-CDFC0EB4009B}"/>
              </a:ext>
            </a:extLst>
          </p:cNvPr>
          <p:cNvGrpSpPr/>
          <p:nvPr userDrawn="1">
            <p:custDataLst>
              <p:tags r:id="rId46"/>
            </p:custDataLst>
          </p:nvPr>
        </p:nvGrpSpPr>
        <p:grpSpPr bwMode="gray">
          <a:xfrm>
            <a:off x="6337760" y="2794673"/>
            <a:ext cx="1829039" cy="914188"/>
            <a:chOff x="1015999" y="1016000"/>
            <a:chExt cx="1828801" cy="914400"/>
          </a:xfrm>
        </p:grpSpPr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92A566AB-6962-4287-A0AA-346CEB45D786}"/>
                </a:ext>
              </a:extLst>
            </p:cNvPr>
            <p:cNvSpPr/>
            <p:nvPr>
              <p:custDataLst>
                <p:tags r:id="rId67"/>
              </p:custDataLst>
            </p:nvPr>
          </p:nvSpPr>
          <p:spPr bwMode="gray">
            <a:xfrm>
              <a:off x="1016000" y="1016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82A34BD5-6314-47C6-B555-5BAEAFAB496F}"/>
                </a:ext>
              </a:extLst>
            </p:cNvPr>
            <p:cNvSpPr txBox="1"/>
            <p:nvPr>
              <p:custDataLst>
                <p:tags r:id="rId68"/>
              </p:custDataLst>
            </p:nvPr>
          </p:nvSpPr>
          <p:spPr bwMode="gray">
            <a:xfrm>
              <a:off x="1079500" y="1073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AD2CF2E3-BD44-4EAA-B5EE-81EC407B3C20}"/>
                </a:ext>
              </a:extLst>
            </p:cNvPr>
            <p:cNvSpPr/>
            <p:nvPr>
              <p:custDataLst>
                <p:tags r:id="rId69"/>
              </p:custDataLst>
            </p:nvPr>
          </p:nvSpPr>
          <p:spPr bwMode="gray">
            <a:xfrm>
              <a:off x="1015999" y="1473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040DE049-AF89-4FB5-845B-C0CC4433D534}"/>
                </a:ext>
              </a:extLst>
            </p:cNvPr>
            <p:cNvSpPr txBox="1"/>
            <p:nvPr>
              <p:custDataLst>
                <p:tags r:id="rId70"/>
              </p:custDataLst>
            </p:nvPr>
          </p:nvSpPr>
          <p:spPr bwMode="gray">
            <a:xfrm>
              <a:off x="1079500" y="1530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BF3662A8-9310-42E1-808C-77E86B6A3C46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 bwMode="gray">
            <a:xfrm>
              <a:off x="1848104" y="1473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90F5FCE4-93CE-4F59-9423-A5522593832A}"/>
                </a:ext>
              </a:extLst>
            </p:cNvPr>
            <p:cNvSpPr txBox="1"/>
            <p:nvPr>
              <p:custDataLst>
                <p:tags r:id="rId72"/>
              </p:custDataLst>
            </p:nvPr>
          </p:nvSpPr>
          <p:spPr bwMode="gray">
            <a:xfrm>
              <a:off x="2050796" y="1530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73" name="FlowLine" hidden="1">
            <a:extLst>
              <a:ext uri="{FF2B5EF4-FFF2-40B4-BE49-F238E27FC236}">
                <a16:creationId xmlns:a16="http://schemas.microsoft.com/office/drawing/2014/main" id="{9A81385B-9382-426A-8A3C-C051EF247C33}"/>
              </a:ext>
            </a:extLst>
          </p:cNvPr>
          <p:cNvGrpSpPr/>
          <p:nvPr userDrawn="1">
            <p:custDataLst>
              <p:tags r:id="rId47"/>
            </p:custDataLst>
          </p:nvPr>
        </p:nvGrpSpPr>
        <p:grpSpPr bwMode="gray">
          <a:xfrm>
            <a:off x="5557574" y="1157264"/>
            <a:ext cx="4979048" cy="1414294"/>
            <a:chOff x="5905500" y="3124200"/>
            <a:chExt cx="4978400" cy="1414621"/>
          </a:xfrm>
        </p:grpSpPr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75D01F77-A095-490D-9270-7B8E2E5C3D3B}"/>
                </a:ext>
              </a:extLst>
            </p:cNvPr>
            <p:cNvGrpSpPr/>
            <p:nvPr>
              <p:custDataLst>
                <p:tags r:id="rId58"/>
              </p:custDataLst>
            </p:nvPr>
          </p:nvGrpSpPr>
          <p:grpSpPr bwMode="gray">
            <a:xfrm>
              <a:off x="5905500" y="3124200"/>
              <a:ext cx="1828800" cy="914400"/>
              <a:chOff x="5905500" y="3124200"/>
              <a:chExt cx="1828800" cy="914400"/>
            </a:xfrm>
          </p:grpSpPr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1A000627-B3FB-4EBD-953F-4F60415511E3}"/>
                  </a:ext>
                </a:extLst>
              </p:cNvPr>
              <p:cNvSpPr/>
              <p:nvPr>
                <p:custDataLst>
                  <p:tags r:id="rId65"/>
                </p:custDataLst>
              </p:nvPr>
            </p:nvSpPr>
            <p:spPr bwMode="gray"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rgbClr val="C1EBFB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B0EBAEE9-2649-4310-AEB6-BBD614CE5E1B}"/>
                  </a:ext>
                </a:extLst>
              </p:cNvPr>
              <p:cNvSpPr txBox="1"/>
              <p:nvPr>
                <p:custDataLst>
                  <p:tags r:id="rId66"/>
                </p:custDataLst>
              </p:nvPr>
            </p:nvSpPr>
            <p:spPr bwMode="gray">
              <a:xfrm>
                <a:off x="5969000" y="3187700"/>
                <a:ext cx="1524000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r>
                  <a:rPr lang="en-US" sz="1600" b="1" dirty="0"/>
                  <a:t>Text</a:t>
                </a:r>
              </a:p>
            </p:txBody>
          </p:sp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7798BE9F-F3D0-49B0-9422-36159FE7FAAA}"/>
                </a:ext>
              </a:extLst>
            </p:cNvPr>
            <p:cNvGrpSpPr/>
            <p:nvPr>
              <p:custDataLst>
                <p:tags r:id="rId59"/>
              </p:custDataLst>
            </p:nvPr>
          </p:nvGrpSpPr>
          <p:grpSpPr bwMode="gray">
            <a:xfrm>
              <a:off x="7480300" y="3124200"/>
              <a:ext cx="1828800" cy="914400"/>
              <a:chOff x="6057900" y="3276600"/>
              <a:chExt cx="1828800" cy="914400"/>
            </a:xfrm>
          </p:grpSpPr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F53F4050-F437-4A5C-9060-6D6B43989E03}"/>
                  </a:ext>
                </a:extLst>
              </p:cNvPr>
              <p:cNvSpPr/>
              <p:nvPr>
                <p:custDataLst>
                  <p:tags r:id="rId63"/>
                </p:custDataLst>
              </p:nvPr>
            </p:nvSpPr>
            <p:spPr bwMode="gray"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rgbClr val="C1EBFB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D59EC026-E9D1-4E42-9116-370CDE3F82D4}"/>
                  </a:ext>
                </a:extLst>
              </p:cNvPr>
              <p:cNvSpPr txBox="1"/>
              <p:nvPr>
                <p:custDataLst>
                  <p:tags r:id="rId64"/>
                </p:custDataLst>
              </p:nvPr>
            </p:nvSpPr>
            <p:spPr bwMode="gray"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r>
                  <a:rPr lang="en-US" sz="1600" b="1" dirty="0"/>
                  <a:t>Text</a:t>
                </a:r>
              </a:p>
            </p:txBody>
          </p:sp>
        </p:grp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76A9810A-D243-4438-9A0B-A7819BF5D9D3}"/>
                </a:ext>
              </a:extLst>
            </p:cNvPr>
            <p:cNvGrpSpPr/>
            <p:nvPr>
              <p:custDataLst>
                <p:tags r:id="rId60"/>
              </p:custDataLst>
            </p:nvPr>
          </p:nvGrpSpPr>
          <p:grpSpPr bwMode="gray">
            <a:xfrm>
              <a:off x="9055100" y="3124200"/>
              <a:ext cx="1828800" cy="914400"/>
              <a:chOff x="6057900" y="3276600"/>
              <a:chExt cx="1828800" cy="914400"/>
            </a:xfrm>
          </p:grpSpPr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364AEE36-3860-4209-94D6-CF8512EF1676}"/>
                  </a:ext>
                </a:extLst>
              </p:cNvPr>
              <p:cNvSpPr/>
              <p:nvPr>
                <p:custDataLst>
                  <p:tags r:id="rId61"/>
                </p:custDataLst>
              </p:nvPr>
            </p:nvSpPr>
            <p:spPr bwMode="gray"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rgbClr val="C1EBFB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25B5EF9D-7FE6-4093-93A0-4C2A73BC024C}"/>
                  </a:ext>
                </a:extLst>
              </p:cNvPr>
              <p:cNvSpPr txBox="1"/>
              <p:nvPr>
                <p:custDataLst>
                  <p:tags r:id="rId62"/>
                </p:custDataLst>
              </p:nvPr>
            </p:nvSpPr>
            <p:spPr bwMode="gray"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r>
                  <a:rPr lang="en-US" sz="1600" b="1" dirty="0"/>
                  <a:t>Text</a:t>
                </a:r>
              </a:p>
            </p:txBody>
          </p:sp>
        </p:grp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41B40FDA-04D2-4D4F-A23C-5AC9CC981CC3}"/>
                </a:ext>
              </a:extLst>
            </p:cNvPr>
            <p:cNvSpPr txBox="1"/>
            <p:nvPr/>
          </p:nvSpPr>
          <p:spPr bwMode="gray">
            <a:xfrm>
              <a:off x="5969000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 sz="1600" dirty="0"/>
                <a:t>Text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FD89462C-E5A7-4544-BD41-80AED175B8B2}"/>
                </a:ext>
              </a:extLst>
            </p:cNvPr>
            <p:cNvSpPr txBox="1"/>
            <p:nvPr/>
          </p:nvSpPr>
          <p:spPr bwMode="gray"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 sz="1600" dirty="0"/>
                <a:t>Text</a:t>
              </a: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C2E5375C-AADE-44AE-8C39-9B0BB7AE7482}"/>
                </a:ext>
              </a:extLst>
            </p:cNvPr>
            <p:cNvSpPr txBox="1"/>
            <p:nvPr/>
          </p:nvSpPr>
          <p:spPr bwMode="gray"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 sz="1600" dirty="0"/>
                <a:t>Text</a:t>
              </a:r>
            </a:p>
          </p:txBody>
        </p:sp>
      </p:grpSp>
      <p:grpSp>
        <p:nvGrpSpPr>
          <p:cNvPr id="194" name="DoubleChevron3" hidden="1">
            <a:extLst>
              <a:ext uri="{FF2B5EF4-FFF2-40B4-BE49-F238E27FC236}">
                <a16:creationId xmlns:a16="http://schemas.microsoft.com/office/drawing/2014/main" id="{31FE926D-D65F-47B3-ACF0-6B93D0DD29F2}"/>
              </a:ext>
            </a:extLst>
          </p:cNvPr>
          <p:cNvGrpSpPr/>
          <p:nvPr userDrawn="1">
            <p:custDataLst>
              <p:tags r:id="rId48"/>
            </p:custDataLst>
          </p:nvPr>
        </p:nvGrpSpPr>
        <p:grpSpPr bwMode="gray">
          <a:xfrm>
            <a:off x="2236485" y="4503095"/>
            <a:ext cx="450909" cy="507882"/>
            <a:chOff x="1270000" y="1270000"/>
            <a:chExt cx="450850" cy="508000"/>
          </a:xfrm>
        </p:grpSpPr>
        <p:sp>
          <p:nvSpPr>
            <p:cNvPr id="195" name="Chevron1">
              <a:extLst>
                <a:ext uri="{FF2B5EF4-FFF2-40B4-BE49-F238E27FC236}">
                  <a16:creationId xmlns:a16="http://schemas.microsoft.com/office/drawing/2014/main" id="{B812B03F-AD84-4492-B5D1-D0C0E8EC750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C1EBF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96" name="Chevron2">
              <a:extLst>
                <a:ext uri="{FF2B5EF4-FFF2-40B4-BE49-F238E27FC236}">
                  <a16:creationId xmlns:a16="http://schemas.microsoft.com/office/drawing/2014/main" id="{DBC423BA-5DEB-409E-9488-7D695F42350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97" name="FlowLine2" hidden="1">
            <a:extLst>
              <a:ext uri="{FF2B5EF4-FFF2-40B4-BE49-F238E27FC236}">
                <a16:creationId xmlns:a16="http://schemas.microsoft.com/office/drawing/2014/main" id="{45CC7D4D-9444-41B2-A988-12E7B21FF5EC}"/>
              </a:ext>
            </a:extLst>
          </p:cNvPr>
          <p:cNvGrpSpPr/>
          <p:nvPr userDrawn="1"/>
        </p:nvGrpSpPr>
        <p:grpSpPr bwMode="gray">
          <a:xfrm>
            <a:off x="5557575" y="3891424"/>
            <a:ext cx="4979048" cy="1414294"/>
            <a:chOff x="5248362" y="3587525"/>
            <a:chExt cx="4978400" cy="1414621"/>
          </a:xfrm>
        </p:grpSpPr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E6991C47-8751-4EBB-9E29-C1E7AE3FEC9F}"/>
                </a:ext>
              </a:extLst>
            </p:cNvPr>
            <p:cNvGrpSpPr/>
            <p:nvPr>
              <p:custDataLst>
                <p:tags r:id="rId49"/>
              </p:custDataLst>
            </p:nvPr>
          </p:nvGrpSpPr>
          <p:grpSpPr bwMode="gray">
            <a:xfrm>
              <a:off x="5248362" y="3587525"/>
              <a:ext cx="1828800" cy="914400"/>
              <a:chOff x="5905500" y="3124200"/>
              <a:chExt cx="1828800" cy="914400"/>
            </a:xfrm>
          </p:grpSpPr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B6DBDEB4-4FE9-4A85-A3A0-79BFC92EF4D6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 bwMode="gray"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TextBox 208">
                <a:extLst>
                  <a:ext uri="{FF2B5EF4-FFF2-40B4-BE49-F238E27FC236}">
                    <a16:creationId xmlns:a16="http://schemas.microsoft.com/office/drawing/2014/main" id="{4E04E88A-5734-4618-A505-63212EFC3501}"/>
                  </a:ext>
                </a:extLst>
              </p:cNvPr>
              <p:cNvSpPr txBox="1"/>
              <p:nvPr>
                <p:custDataLst>
                  <p:tags r:id="rId57"/>
                </p:custDataLst>
              </p:nvPr>
            </p:nvSpPr>
            <p:spPr bwMode="gray">
              <a:xfrm>
                <a:off x="5969000" y="3187700"/>
                <a:ext cx="1524000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pPr>
                  <a:buClr>
                    <a:schemeClr val="bg1"/>
                  </a:buClr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BAE9FC66-B414-4415-9376-B7DBC34F04CB}"/>
                </a:ext>
              </a:extLst>
            </p:cNvPr>
            <p:cNvGrpSpPr/>
            <p:nvPr>
              <p:custDataLst>
                <p:tags r:id="rId50"/>
              </p:custDataLst>
            </p:nvPr>
          </p:nvGrpSpPr>
          <p:grpSpPr bwMode="gray">
            <a:xfrm>
              <a:off x="6823162" y="3587525"/>
              <a:ext cx="1828800" cy="914400"/>
              <a:chOff x="6057900" y="3276600"/>
              <a:chExt cx="1828800" cy="914400"/>
            </a:xfrm>
          </p:grpSpPr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0B2A2833-5F65-4B50-AE3A-55F57D445AA9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 bwMode="gray"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TextBox 206">
                <a:extLst>
                  <a:ext uri="{FF2B5EF4-FFF2-40B4-BE49-F238E27FC236}">
                    <a16:creationId xmlns:a16="http://schemas.microsoft.com/office/drawing/2014/main" id="{BE0D7712-DACD-4FDA-A629-533A426F7795}"/>
                  </a:ext>
                </a:extLst>
              </p:cNvPr>
              <p:cNvSpPr txBox="1"/>
              <p:nvPr>
                <p:custDataLst>
                  <p:tags r:id="rId55"/>
                </p:custDataLst>
              </p:nvPr>
            </p:nvSpPr>
            <p:spPr bwMode="gray"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pPr>
                  <a:buClr>
                    <a:schemeClr val="bg1"/>
                  </a:buClr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425708E0-A1D8-4112-B172-1B4BD4F92D17}"/>
                </a:ext>
              </a:extLst>
            </p:cNvPr>
            <p:cNvGrpSpPr/>
            <p:nvPr>
              <p:custDataLst>
                <p:tags r:id="rId51"/>
              </p:custDataLst>
            </p:nvPr>
          </p:nvGrpSpPr>
          <p:grpSpPr bwMode="gray">
            <a:xfrm>
              <a:off x="8397962" y="3587525"/>
              <a:ext cx="1828800" cy="914400"/>
              <a:chOff x="6057900" y="3276600"/>
              <a:chExt cx="1828800" cy="914400"/>
            </a:xfrm>
          </p:grpSpPr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978016BF-BDE0-4377-92AC-74AB69E44DC3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 bwMode="gray"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TextBox 204">
                <a:extLst>
                  <a:ext uri="{FF2B5EF4-FFF2-40B4-BE49-F238E27FC236}">
                    <a16:creationId xmlns:a16="http://schemas.microsoft.com/office/drawing/2014/main" id="{01EA21F2-6AE8-4ECA-BB27-FC2152693C23}"/>
                  </a:ext>
                </a:extLst>
              </p:cNvPr>
              <p:cNvSpPr txBox="1"/>
              <p:nvPr>
                <p:custDataLst>
                  <p:tags r:id="rId53"/>
                </p:custDataLst>
              </p:nvPr>
            </p:nvSpPr>
            <p:spPr bwMode="gray"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7549" eaLnBrk="1" latinLnBrk="0" hangingPunct="1">
                  <a:buClr>
                    <a:schemeClr val="tx1"/>
                  </a:buClr>
                  <a:buSzPct val="100000"/>
                  <a:buFontTx/>
                  <a:buNone/>
                  <a:defRPr lang="x-none" sz="1600" baseline="0">
                    <a:latin typeface="+mn-lt"/>
                  </a:defRPr>
                </a:lvl1pPr>
                <a:lvl2pPr marL="180000" lvl="1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2pPr>
                <a:lvl3pPr marL="360000" lvl="2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3pPr>
                <a:lvl4pPr marL="540000" lvl="3" indent="-180000" defTabSz="1217549" eaLnBrk="1" latinLnBrk="0" hangingPunct="1"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latin typeface="+mn-lt"/>
                  </a:defRPr>
                </a:lvl4pPr>
                <a:lvl5pPr marL="720000" lvl="4" indent="-180000" defTabSz="1217549" eaLnBrk="1" latinLnBrk="0" hangingPunct="1">
                  <a:buClr>
                    <a:schemeClr val="tx1"/>
                  </a:buClr>
                  <a:buSzPct val="100000"/>
                  <a:buFont typeface="Symbol" panose="05050102010706020507" pitchFamily="18" charset="2"/>
                  <a:buChar char="-"/>
                  <a:defRPr lang="x-none" sz="1600" baseline="0">
                    <a:latin typeface="+mn-lt"/>
                  </a:defRPr>
                </a:lvl5pPr>
                <a:lvl6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6pPr>
                <a:lvl7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7pPr>
                <a:lvl8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8pPr>
                <a:lvl9pPr marL="1019630" indent="-177021" defTabSz="121754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5" baseline="0">
                    <a:latin typeface="+mn-lt"/>
                  </a:defRPr>
                </a:lvl9pPr>
              </a:lstStyle>
              <a:p>
                <a:pPr>
                  <a:buClr>
                    <a:schemeClr val="bg1"/>
                  </a:buClr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52F2A158-7E88-4764-AC97-3828207B837B}"/>
                </a:ext>
              </a:extLst>
            </p:cNvPr>
            <p:cNvSpPr txBox="1"/>
            <p:nvPr/>
          </p:nvSpPr>
          <p:spPr bwMode="gray">
            <a:xfrm>
              <a:off x="5311862" y="4755925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 sz="1600" dirty="0"/>
                <a:t>Text</a:t>
              </a: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FBE58AA1-429A-4E0C-AB53-CD839868E1B3}"/>
                </a:ext>
              </a:extLst>
            </p:cNvPr>
            <p:cNvSpPr txBox="1"/>
            <p:nvPr/>
          </p:nvSpPr>
          <p:spPr bwMode="gray">
            <a:xfrm>
              <a:off x="7038554" y="4755925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 sz="1600" dirty="0"/>
                <a:t>Text</a:t>
              </a: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F8D6510E-D573-432B-8B7F-018FDB51A639}"/>
                </a:ext>
              </a:extLst>
            </p:cNvPr>
            <p:cNvSpPr txBox="1"/>
            <p:nvPr/>
          </p:nvSpPr>
          <p:spPr bwMode="gray">
            <a:xfrm>
              <a:off x="8613354" y="4755925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7549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80000" lvl="1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60000" lvl="2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40000" lvl="3" indent="-180000" defTabSz="1217549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20000" lvl="4" indent="-180000" defTabSz="1217549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6pPr>
              <a:lvl7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7pPr>
              <a:lvl8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8pPr>
              <a:lvl9pPr marL="1019630" indent="-177021" defTabSz="121754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5" baseline="0">
                  <a:latin typeface="+mn-lt"/>
                </a:defRPr>
              </a:lvl9pPr>
            </a:lstStyle>
            <a:p>
              <a:pPr lvl="1"/>
              <a:r>
                <a:rPr lang="en-US" sz="1600" dirty="0"/>
                <a:t>Text</a:t>
              </a:r>
            </a:p>
          </p:txBody>
        </p:sp>
      </p:grpSp>
      <p:sp>
        <p:nvSpPr>
          <p:cNvPr id="4" name="MSIPCMContentMarking" descr="{&quot;HashCode&quot;:-1284201107,&quot;Placement&quot;:&quot;Header&quot;,&quot;Top&quot;:0.0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1240B449-DE2C-4560-9541-BD726A7CBCF3}"/>
              </a:ext>
            </a:extLst>
          </p:cNvPr>
          <p:cNvSpPr txBox="1"/>
          <p:nvPr userDrawn="1"/>
        </p:nvSpPr>
        <p:spPr>
          <a:xfrm>
            <a:off x="5756851" y="0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4162367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hf sldNum="0" hdr="0" ftr="0"/>
  <p:txStyles>
    <p:titleStyle>
      <a:lvl1pPr algn="l" defTabSz="1217305" rtl="0" eaLnBrk="1" fontAlgn="base" hangingPunct="1">
        <a:lnSpc>
          <a:spcPct val="100000"/>
        </a:lnSpc>
        <a:spcBef>
          <a:spcPct val="0"/>
        </a:spcBef>
        <a:spcAft>
          <a:spcPct val="0"/>
        </a:spcAft>
        <a:tabLst>
          <a:tab pos="626938" algn="l"/>
        </a:tabLst>
        <a:defRPr lang="x-none" sz="2999" b="1" cap="none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7305" rtl="0" eaLnBrk="1" fontAlgn="base" hangingPunct="1">
        <a:spcBef>
          <a:spcPct val="0"/>
        </a:spcBef>
        <a:spcAft>
          <a:spcPct val="0"/>
        </a:spcAft>
        <a:defRPr lang="x-none" sz="2583" b="1">
          <a:solidFill>
            <a:schemeClr val="tx2"/>
          </a:solidFill>
          <a:latin typeface="Arial" charset="0"/>
        </a:defRPr>
      </a:lvl2pPr>
      <a:lvl3pPr algn="l" defTabSz="1217305" rtl="0" eaLnBrk="1" fontAlgn="base" hangingPunct="1">
        <a:spcBef>
          <a:spcPct val="0"/>
        </a:spcBef>
        <a:spcAft>
          <a:spcPct val="0"/>
        </a:spcAft>
        <a:defRPr lang="x-none" sz="2583" b="1">
          <a:solidFill>
            <a:schemeClr val="tx2"/>
          </a:solidFill>
          <a:latin typeface="Arial" charset="0"/>
        </a:defRPr>
      </a:lvl3pPr>
      <a:lvl4pPr algn="l" defTabSz="1217305" rtl="0" eaLnBrk="1" fontAlgn="base" hangingPunct="1">
        <a:spcBef>
          <a:spcPct val="0"/>
        </a:spcBef>
        <a:spcAft>
          <a:spcPct val="0"/>
        </a:spcAft>
        <a:defRPr lang="x-none" sz="2583" b="1">
          <a:solidFill>
            <a:schemeClr val="tx2"/>
          </a:solidFill>
          <a:latin typeface="Arial" charset="0"/>
        </a:defRPr>
      </a:lvl4pPr>
      <a:lvl5pPr algn="l" defTabSz="1217305" rtl="0" eaLnBrk="1" fontAlgn="base" hangingPunct="1">
        <a:spcBef>
          <a:spcPct val="0"/>
        </a:spcBef>
        <a:spcAft>
          <a:spcPct val="0"/>
        </a:spcAft>
        <a:defRPr lang="x-none" sz="2583" b="1">
          <a:solidFill>
            <a:schemeClr val="tx2"/>
          </a:solidFill>
          <a:latin typeface="Arial" charset="0"/>
        </a:defRPr>
      </a:lvl5pPr>
      <a:lvl6pPr marL="621602" algn="l" defTabSz="1217305" rtl="0" eaLnBrk="1" fontAlgn="base" hangingPunct="1">
        <a:spcBef>
          <a:spcPct val="0"/>
        </a:spcBef>
        <a:spcAft>
          <a:spcPct val="0"/>
        </a:spcAft>
        <a:defRPr lang="x-none" sz="2583" b="1">
          <a:solidFill>
            <a:schemeClr val="tx2"/>
          </a:solidFill>
          <a:latin typeface="Arial" charset="0"/>
        </a:defRPr>
      </a:lvl6pPr>
      <a:lvl7pPr marL="1243203" algn="l" defTabSz="1217305" rtl="0" eaLnBrk="1" fontAlgn="base" hangingPunct="1">
        <a:spcBef>
          <a:spcPct val="0"/>
        </a:spcBef>
        <a:spcAft>
          <a:spcPct val="0"/>
        </a:spcAft>
        <a:defRPr lang="x-none" sz="2583" b="1">
          <a:solidFill>
            <a:schemeClr val="tx2"/>
          </a:solidFill>
          <a:latin typeface="Arial" charset="0"/>
        </a:defRPr>
      </a:lvl7pPr>
      <a:lvl8pPr marL="1864805" algn="l" defTabSz="1217305" rtl="0" eaLnBrk="1" fontAlgn="base" hangingPunct="1">
        <a:spcBef>
          <a:spcPct val="0"/>
        </a:spcBef>
        <a:spcAft>
          <a:spcPct val="0"/>
        </a:spcAft>
        <a:defRPr lang="x-none" sz="2583" b="1">
          <a:solidFill>
            <a:schemeClr val="tx2"/>
          </a:solidFill>
          <a:latin typeface="Arial" charset="0"/>
        </a:defRPr>
      </a:lvl8pPr>
      <a:lvl9pPr marL="2486408" algn="l" defTabSz="1217305" rtl="0" eaLnBrk="1" fontAlgn="base" hangingPunct="1">
        <a:spcBef>
          <a:spcPct val="0"/>
        </a:spcBef>
        <a:spcAft>
          <a:spcPct val="0"/>
        </a:spcAft>
        <a:defRPr lang="x-none" sz="258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730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Tx/>
        <a:buNone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21730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359928" indent="-179964" algn="l" defTabSz="121730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x-none" sz="1600" baseline="0">
          <a:solidFill>
            <a:schemeClr val="tx1"/>
          </a:solidFill>
          <a:latin typeface="+mn-lt"/>
        </a:defRPr>
      </a:lvl3pPr>
      <a:lvl4pPr marL="539892" indent="-179964" algn="l" defTabSz="121730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19856" indent="-179964" algn="l" defTabSz="121730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x-none" sz="1600" baseline="0">
          <a:solidFill>
            <a:schemeClr val="tx1"/>
          </a:solidFill>
          <a:latin typeface="+mn-lt"/>
        </a:defRPr>
      </a:lvl5pPr>
      <a:lvl6pPr marL="1019426" indent="-176986" algn="l" defTabSz="12173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5" baseline="0">
          <a:solidFill>
            <a:schemeClr val="tx1"/>
          </a:solidFill>
          <a:latin typeface="+mn-lt"/>
        </a:defRPr>
      </a:lvl6pPr>
      <a:lvl7pPr marL="1019426" indent="-176986" algn="l" defTabSz="12173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5" baseline="0">
          <a:solidFill>
            <a:schemeClr val="tx1"/>
          </a:solidFill>
          <a:latin typeface="+mn-lt"/>
        </a:defRPr>
      </a:lvl7pPr>
      <a:lvl8pPr marL="1019426" indent="-176986" algn="l" defTabSz="12173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5" baseline="0">
          <a:solidFill>
            <a:schemeClr val="tx1"/>
          </a:solidFill>
          <a:latin typeface="+mn-lt"/>
        </a:defRPr>
      </a:lvl8pPr>
      <a:lvl9pPr marL="1019426" indent="-176986" algn="l" defTabSz="12173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5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203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1pPr>
      <a:lvl2pPr marL="621602" algn="l" defTabSz="1243203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2pPr>
      <a:lvl3pPr marL="1243203" algn="l" defTabSz="1243203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3pPr>
      <a:lvl4pPr marL="1864805" algn="l" defTabSz="1243203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4pPr>
      <a:lvl5pPr marL="2486408" algn="l" defTabSz="1243203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5pPr>
      <a:lvl6pPr marL="3108011" algn="l" defTabSz="1243203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6pPr>
      <a:lvl7pPr marL="3729609" algn="l" defTabSz="1243203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7pPr>
      <a:lvl8pPr marL="4351211" algn="l" defTabSz="1243203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8pPr>
      <a:lvl9pPr marL="4972813" algn="l" defTabSz="1243203" rtl="0" eaLnBrk="1" latinLnBrk="0" hangingPunct="1">
        <a:defRPr lang="x-none" sz="24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57">
          <p15:clr>
            <a:srgbClr val="F26B43"/>
          </p15:clr>
        </p15:guide>
        <p15:guide id="2" pos="2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68E263F-EF36-4511-9123-05EC388BE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0447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27" imgW="592" imgH="595" progId="TCLayout.ActiveDocument.1">
                  <p:embed/>
                </p:oleObj>
              </mc:Choice>
              <mc:Fallback>
                <p:oleObj name="think-cell Slide" r:id="rId27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68E263F-EF36-4511-9123-05EC388BE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reeform 54">
            <a:extLst>
              <a:ext uri="{FF2B5EF4-FFF2-40B4-BE49-F238E27FC236}">
                <a16:creationId xmlns:a16="http://schemas.microsoft.com/office/drawing/2014/main" id="{89EBB33B-FB75-4501-9ACE-7AB24321CCE2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11387787" y="303929"/>
            <a:ext cx="308913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0" cap="none" spc="0" normalizeH="0" baseline="0" noProof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7" name="MSIPCMContentMarking" descr="{&quot;HashCode&quot;:-1284201107,&quot;Placement&quot;:&quot;Header&quot;,&quot;Top&quot;:0.0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540C94F0-4F4F-40F1-9B7D-534B6E669C01}"/>
              </a:ext>
            </a:extLst>
          </p:cNvPr>
          <p:cNvSpPr txBox="1"/>
          <p:nvPr userDrawn="1"/>
        </p:nvSpPr>
        <p:spPr>
          <a:xfrm>
            <a:off x="5756851" y="0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3612215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2.emf"/><Relationship Id="rId11" Type="http://schemas.openxmlformats.org/officeDocument/2006/relationships/image" Target="../media/image37.sv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41.svg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42.png"/><Relationship Id="rId2" Type="http://schemas.openxmlformats.org/officeDocument/2006/relationships/tags" Target="../tags/tag11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emf"/><Relationship Id="rId13" Type="http://schemas.openxmlformats.org/officeDocument/2006/relationships/image" Target="../media/image38.png"/><Relationship Id="rId18" Type="http://schemas.openxmlformats.org/officeDocument/2006/relationships/image" Target="../media/image54.svg"/><Relationship Id="rId3" Type="http://schemas.openxmlformats.org/officeDocument/2006/relationships/slideLayout" Target="../slideLayouts/slideLayout47.xml"/><Relationship Id="rId21" Type="http://schemas.openxmlformats.org/officeDocument/2006/relationships/image" Target="../media/image57.png"/><Relationship Id="rId7" Type="http://schemas.openxmlformats.org/officeDocument/2006/relationships/oleObject" Target="../embeddings/oleObject16.bin"/><Relationship Id="rId12" Type="http://schemas.openxmlformats.org/officeDocument/2006/relationships/image" Target="../media/image49.png"/><Relationship Id="rId17" Type="http://schemas.openxmlformats.org/officeDocument/2006/relationships/image" Target="../media/image53.png"/><Relationship Id="rId25" Type="http://schemas.openxmlformats.org/officeDocument/2006/relationships/image" Target="../media/image61.png"/><Relationship Id="rId2" Type="http://schemas.openxmlformats.org/officeDocument/2006/relationships/tags" Target="../tags/tag115.xml"/><Relationship Id="rId16" Type="http://schemas.openxmlformats.org/officeDocument/2006/relationships/image" Target="../media/image52.svg"/><Relationship Id="rId20" Type="http://schemas.openxmlformats.org/officeDocument/2006/relationships/image" Target="../media/image56.svg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5.svg"/><Relationship Id="rId11" Type="http://schemas.openxmlformats.org/officeDocument/2006/relationships/image" Target="../media/image48.svg"/><Relationship Id="rId24" Type="http://schemas.openxmlformats.org/officeDocument/2006/relationships/image" Target="../media/image60.png"/><Relationship Id="rId5" Type="http://schemas.openxmlformats.org/officeDocument/2006/relationships/image" Target="../media/image44.png"/><Relationship Id="rId15" Type="http://schemas.openxmlformats.org/officeDocument/2006/relationships/image" Target="../media/image51.png"/><Relationship Id="rId23" Type="http://schemas.openxmlformats.org/officeDocument/2006/relationships/image" Target="../media/image59.png"/><Relationship Id="rId10" Type="http://schemas.openxmlformats.org/officeDocument/2006/relationships/image" Target="../media/image47.png"/><Relationship Id="rId19" Type="http://schemas.openxmlformats.org/officeDocument/2006/relationships/image" Target="../media/image5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6.png"/><Relationship Id="rId14" Type="http://schemas.openxmlformats.org/officeDocument/2006/relationships/image" Target="../media/image50.svg"/><Relationship Id="rId22" Type="http://schemas.openxmlformats.org/officeDocument/2006/relationships/image" Target="../media/image5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62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63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hyperlink" Target="https://cmp.allianz.net/pages/viewpage.action?pageId=795208959" TargetMode="External"/><Relationship Id="rId2" Type="http://schemas.openxmlformats.org/officeDocument/2006/relationships/tags" Target="../tags/tag11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C5AD12E-11CD-4F25-8103-000CC9F843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526" imgH="529" progId="TCLayout.ActiveDocument.1">
                  <p:embed/>
                </p:oleObj>
              </mc:Choice>
              <mc:Fallback>
                <p:oleObj name="think-cell Slide" r:id="rId4" imgW="526" imgH="5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C5AD12E-11CD-4F25-8103-000CC9F84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7DE9121B-5E29-476E-A659-CE59D8F2D7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8313" y="1557383"/>
            <a:ext cx="10388084" cy="1676355"/>
          </a:xfrm>
        </p:spPr>
        <p:txBody>
          <a:bodyPr vert="horz" anchor="ctr"/>
          <a:lstStyle/>
          <a:p>
            <a:r>
              <a:rPr lang="de-DE" sz="6200" b="1" dirty="0">
                <a:latin typeface="+mj-lt"/>
                <a:cs typeface="Arial" panose="020B0604020202020204" pitchFamily="34" charset="0"/>
              </a:rPr>
              <a:t>Claims MIS/Inflation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EE9B0C72-0DB7-40B9-9454-264D9D37B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313" y="3429022"/>
            <a:ext cx="7442199" cy="1676355"/>
          </a:xfrm>
        </p:spPr>
        <p:txBody>
          <a:bodyPr/>
          <a:lstStyle/>
          <a:p>
            <a:pPr algn="l"/>
            <a:r>
              <a:rPr lang="de-DE" sz="3600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cs typeface="Arial" panose="020B0604020202020204" pitchFamily="34" charset="0"/>
              </a:rPr>
              <a:t>Architecture View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98AEBA-199A-4BF6-8FB1-7D6A67A46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>
                <a:latin typeface="+mj-lt"/>
                <a:cs typeface="Arial" panose="020B0604020202020204" pitchFamily="34" charset="0"/>
              </a:rPr>
              <a:t>Munich, Nov 202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3B89230-E18A-4D4A-90BE-E29B352BE7C4}"/>
              </a:ext>
            </a:extLst>
          </p:cNvPr>
          <p:cNvSpPr/>
          <p:nvPr/>
        </p:nvSpPr>
        <p:spPr>
          <a:xfrm>
            <a:off x="8450262" y="2268538"/>
            <a:ext cx="2751137" cy="27685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lianz Neo PPT"/>
              <a:ea typeface="+mn-ea"/>
              <a:cs typeface="+mn-cs"/>
            </a:endParaRP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D31FA94F-7778-450F-B400-F50DCB16E50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8" r="16678"/>
          <a:stretch/>
        </p:blipFill>
        <p:spPr>
          <a:xfrm flipH="1">
            <a:off x="8565830" y="2392815"/>
            <a:ext cx="2520000" cy="252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509614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C5AD12E-11CD-4F25-8103-000CC9F843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4" imgW="526" imgH="529" progId="TCLayout.ActiveDocument.1">
                  <p:embed/>
                </p:oleObj>
              </mc:Choice>
              <mc:Fallback>
                <p:oleObj name="think-cell Slide" r:id="rId4" imgW="526" imgH="5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C5AD12E-11CD-4F25-8103-000CC9F84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7DE9121B-5E29-476E-A659-CE59D8F2D7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8313" y="1557383"/>
            <a:ext cx="10388084" cy="1676355"/>
          </a:xfrm>
        </p:spPr>
        <p:txBody>
          <a:bodyPr vert="horz" anchor="ctr"/>
          <a:lstStyle/>
          <a:p>
            <a:r>
              <a:rPr lang="de-DE" sz="6200" b="1" dirty="0">
                <a:latin typeface="+mj-lt"/>
                <a:cs typeface="Arial" panose="020B0604020202020204" pitchFamily="34" charset="0"/>
              </a:rPr>
              <a:t>CIM Format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EE9B0C72-0DB7-40B9-9454-264D9D37B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313" y="3429022"/>
            <a:ext cx="7442199" cy="1676355"/>
          </a:xfrm>
        </p:spPr>
        <p:txBody>
          <a:bodyPr/>
          <a:lstStyle/>
          <a:p>
            <a:pPr algn="l"/>
            <a:r>
              <a:rPr lang="de-DE" sz="3600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cs typeface="Arial" panose="020B0604020202020204" pitchFamily="34" charset="0"/>
              </a:rPr>
              <a:t>OE Ingestion Mod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98AEBA-199A-4BF6-8FB1-7D6A67A46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>
                <a:latin typeface="+mj-lt"/>
                <a:cs typeface="Arial" panose="020B0604020202020204" pitchFamily="34" charset="0"/>
              </a:rPr>
              <a:t>Munich, Nov 202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3B89230-E18A-4D4A-90BE-E29B352BE7C4}"/>
              </a:ext>
            </a:extLst>
          </p:cNvPr>
          <p:cNvSpPr/>
          <p:nvPr/>
        </p:nvSpPr>
        <p:spPr>
          <a:xfrm>
            <a:off x="8450262" y="2268538"/>
            <a:ext cx="2751137" cy="27685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lianz Neo PPT"/>
              <a:ea typeface="+mn-ea"/>
              <a:cs typeface="+mn-cs"/>
            </a:endParaRP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D31FA94F-7778-450F-B400-F50DCB16E50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8" r="16678"/>
          <a:stretch/>
        </p:blipFill>
        <p:spPr>
          <a:xfrm flipH="1">
            <a:off x="8565830" y="2392815"/>
            <a:ext cx="2520000" cy="252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7058368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CEDF30-F3D4-449F-9CAB-6D6CBBE700B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4EE6DC9-2904-4878-B528-FA98582F30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3500" y="105592"/>
            <a:ext cx="3081795" cy="192966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D52BB9C-BD2F-4402-95A9-9307184C8A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023" y="515818"/>
            <a:ext cx="9243525" cy="514232"/>
          </a:xfrm>
        </p:spPr>
        <p:txBody>
          <a:bodyPr/>
          <a:lstStyle/>
          <a:p>
            <a:r>
              <a:rPr lang="en-US" dirty="0"/>
              <a:t>Data Vault Methodology</a:t>
            </a:r>
            <a:endParaRPr lang="en-US" sz="2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17726E-908F-4611-B2FE-B5ABEC09AE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9" name="Isosceles Triangle 48">
            <a:extLst>
              <a:ext uri="{FF2B5EF4-FFF2-40B4-BE49-F238E27FC236}">
                <a16:creationId xmlns:a16="http://schemas.microsoft.com/office/drawing/2014/main" id="{DF8B3467-C2AD-41D6-9677-EA907601856C}"/>
              </a:ext>
            </a:extLst>
          </p:cNvPr>
          <p:cNvSpPr/>
          <p:nvPr/>
        </p:nvSpPr>
        <p:spPr>
          <a:xfrm rot="10800000">
            <a:off x="1704182" y="3170654"/>
            <a:ext cx="842460" cy="51423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35992" tIns="35992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2337897A-3BD7-43A8-B87D-DCD2F49A32A9}"/>
              </a:ext>
            </a:extLst>
          </p:cNvPr>
          <p:cNvSpPr/>
          <p:nvPr/>
        </p:nvSpPr>
        <p:spPr>
          <a:xfrm>
            <a:off x="501785" y="3994712"/>
            <a:ext cx="3247255" cy="15218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5992" tIns="35992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 set of business keys that are uniquely identified, with a very low tendency to change.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endParaRPr lang="en-US" sz="12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.g. </a:t>
            </a:r>
            <a:r>
              <a:rPr lang="en-US" sz="12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b_policy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cludes an inventory list for all existing policies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F0397D3-1774-423B-B7F7-FDCF5B6B9821}"/>
              </a:ext>
            </a:extLst>
          </p:cNvPr>
          <p:cNvSpPr/>
          <p:nvPr/>
        </p:nvSpPr>
        <p:spPr>
          <a:xfrm>
            <a:off x="506763" y="3656924"/>
            <a:ext cx="3242277" cy="335448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14" tIns="35992" rIns="36014" bIns="35992" rtlCol="0" anchor="ctr"/>
          <a:lstStyle/>
          <a:p>
            <a:pPr algn="ctr" defTabSz="1219657" hangingPunct="0">
              <a:defRPr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HUBs</a:t>
            </a:r>
          </a:p>
        </p:txBody>
      </p:sp>
      <p:sp>
        <p:nvSpPr>
          <p:cNvPr id="35" name="Isosceles Triangle 48">
            <a:extLst>
              <a:ext uri="{FF2B5EF4-FFF2-40B4-BE49-F238E27FC236}">
                <a16:creationId xmlns:a16="http://schemas.microsoft.com/office/drawing/2014/main" id="{1376315E-0125-46E8-A376-EA804F35374D}"/>
              </a:ext>
            </a:extLst>
          </p:cNvPr>
          <p:cNvSpPr/>
          <p:nvPr/>
        </p:nvSpPr>
        <p:spPr>
          <a:xfrm rot="10800000">
            <a:off x="5450654" y="3178942"/>
            <a:ext cx="842460" cy="51423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35992" tIns="35992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36" name="Isosceles Triangle 48">
            <a:extLst>
              <a:ext uri="{FF2B5EF4-FFF2-40B4-BE49-F238E27FC236}">
                <a16:creationId xmlns:a16="http://schemas.microsoft.com/office/drawing/2014/main" id="{98B12ECA-73E0-4A86-B192-3F2E603CA118}"/>
              </a:ext>
            </a:extLst>
          </p:cNvPr>
          <p:cNvSpPr/>
          <p:nvPr/>
        </p:nvSpPr>
        <p:spPr>
          <a:xfrm rot="10800000">
            <a:off x="9271047" y="3187158"/>
            <a:ext cx="842460" cy="51423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35992" tIns="35992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chemeClr val="tx2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906859-900E-45E3-B7ED-07E2323CDAF9}"/>
              </a:ext>
            </a:extLst>
          </p:cNvPr>
          <p:cNvGrpSpPr/>
          <p:nvPr/>
        </p:nvGrpSpPr>
        <p:grpSpPr>
          <a:xfrm>
            <a:off x="2092564" y="1341429"/>
            <a:ext cx="7660984" cy="1701274"/>
            <a:chOff x="245713" y="2052170"/>
            <a:chExt cx="4358980" cy="1993310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ADD951A-4E24-4BCF-A7FD-5A01FDC5731F}"/>
                </a:ext>
              </a:extLst>
            </p:cNvPr>
            <p:cNvSpPr/>
            <p:nvPr/>
          </p:nvSpPr>
          <p:spPr>
            <a:xfrm>
              <a:off x="245714" y="2365442"/>
              <a:ext cx="4350914" cy="16800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35992" tIns="35992" rIns="35992" bIns="3599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1416">
                <a:lnSpc>
                  <a:spcPct val="150000"/>
                </a:lnSpc>
                <a:spcBef>
                  <a:spcPts val="600"/>
                </a:spcBef>
                <a:spcAft>
                  <a:spcPts val="100"/>
                </a:spcAft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apts to a changing environment easily</a:t>
              </a:r>
            </a:p>
            <a:p>
              <a:pPr marL="171416" indent="-171416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upports very large data sets</a:t>
              </a:r>
            </a:p>
            <a:p>
              <a:pPr marL="171416" indent="-171416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creases usability by business users because it is modeled after the business domain</a:t>
              </a:r>
            </a:p>
            <a:p>
              <a:pPr marL="171416" indent="-171416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lows new data sources to be added without impacting the existing design → no need for reengineering</a:t>
              </a:r>
            </a:p>
            <a:p>
              <a:pPr marL="171416" indent="-171416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upports auditability of data</a:t>
              </a:r>
            </a:p>
            <a:p>
              <a:pPr marL="171416" indent="-171416">
                <a:spcBef>
                  <a:spcPts val="100"/>
                </a:spcBef>
                <a:spcAft>
                  <a:spcPts val="100"/>
                </a:spcAft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upports parallel loading of tables without any dependencies → increases loading performance</a:t>
              </a:r>
            </a:p>
            <a:p>
              <a:pPr>
                <a:spcBef>
                  <a:spcPts val="100"/>
                </a:spcBef>
                <a:spcAft>
                  <a:spcPts val="100"/>
                </a:spcAft>
              </a:pPr>
              <a:r>
                <a:rPr lang="en-US" sz="12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 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CB80E82-3D65-4648-83A8-4F59E1FE1036}"/>
                </a:ext>
              </a:extLst>
            </p:cNvPr>
            <p:cNvSpPr/>
            <p:nvPr/>
          </p:nvSpPr>
          <p:spPr>
            <a:xfrm>
              <a:off x="245713" y="2052170"/>
              <a:ext cx="4358980" cy="335527"/>
            </a:xfrm>
            <a:prstGeom prst="rect">
              <a:avLst/>
            </a:prstGeom>
            <a:solidFill>
              <a:srgbClr val="8199BD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14" tIns="35992" rIns="36014" bIns="35992" rtlCol="0" anchor="ctr"/>
            <a:lstStyle/>
            <a:p>
              <a:pPr algn="ctr" defTabSz="1219657" hangingPunct="0">
                <a:defRPr/>
              </a:pP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Advantages of Data Vault (DV) </a:t>
              </a:r>
            </a:p>
          </p:txBody>
        </p:sp>
      </p:grpSp>
      <p:sp>
        <p:nvSpPr>
          <p:cNvPr id="37" name="Rectangle 147">
            <a:extLst>
              <a:ext uri="{FF2B5EF4-FFF2-40B4-BE49-F238E27FC236}">
                <a16:creationId xmlns:a16="http://schemas.microsoft.com/office/drawing/2014/main" id="{8967CF30-A3A4-4A87-A513-4B7E589D616D}"/>
              </a:ext>
            </a:extLst>
          </p:cNvPr>
          <p:cNvSpPr/>
          <p:nvPr/>
        </p:nvSpPr>
        <p:spPr>
          <a:xfrm>
            <a:off x="8062429" y="4008630"/>
            <a:ext cx="3247255" cy="2117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5992" tIns="35992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 descriptive attributes and contain data that tends to change over time.</a:t>
            </a:r>
          </a:p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single satellite record is created for each instance of an entity, e.g., for each policy-identifier you can find information about inception date, expiry date and policy status in the satellite policy</a:t>
            </a:r>
          </a:p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satellite must be attached to a hub or to a link</a:t>
            </a:r>
          </a:p>
        </p:txBody>
      </p:sp>
      <p:sp>
        <p:nvSpPr>
          <p:cNvPr id="38" name="Rectangle 40">
            <a:extLst>
              <a:ext uri="{FF2B5EF4-FFF2-40B4-BE49-F238E27FC236}">
                <a16:creationId xmlns:a16="http://schemas.microsoft.com/office/drawing/2014/main" id="{5DDDB31B-016A-4C7D-87DA-B485A1FB0FA3}"/>
              </a:ext>
            </a:extLst>
          </p:cNvPr>
          <p:cNvSpPr/>
          <p:nvPr/>
        </p:nvSpPr>
        <p:spPr>
          <a:xfrm>
            <a:off x="8067407" y="3670842"/>
            <a:ext cx="3242277" cy="335448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14" tIns="35992" rIns="36014" bIns="35992" rtlCol="0" anchor="ctr"/>
          <a:lstStyle/>
          <a:p>
            <a:pPr algn="ctr" defTabSz="1219657" hangingPunct="0">
              <a:defRPr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atellites</a:t>
            </a:r>
          </a:p>
        </p:txBody>
      </p:sp>
      <p:sp>
        <p:nvSpPr>
          <p:cNvPr id="39" name="Rectangle 147">
            <a:extLst>
              <a:ext uri="{FF2B5EF4-FFF2-40B4-BE49-F238E27FC236}">
                <a16:creationId xmlns:a16="http://schemas.microsoft.com/office/drawing/2014/main" id="{FA399D18-B8ED-4EF4-B1E8-8AAEC2767BF9}"/>
              </a:ext>
            </a:extLst>
          </p:cNvPr>
          <p:cNvSpPr/>
          <p:nvPr/>
        </p:nvSpPr>
        <p:spPr>
          <a:xfrm>
            <a:off x="4279618" y="4000202"/>
            <a:ext cx="3247255" cy="1853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35992" tIns="35992" rIns="35992" bIns="359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 relationships (transactions, hierarchies or associations) between hubs. </a:t>
            </a:r>
          </a:p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single link is created for each type of relationship, e.g., a single link record indicates that there is a relationship between a claim and policy</a:t>
            </a:r>
          </a:p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link contains 2 (or more) business keys</a:t>
            </a:r>
          </a:p>
          <a:p>
            <a:pPr marL="171416" indent="-171416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43" name="Rectangle 40">
            <a:extLst>
              <a:ext uri="{FF2B5EF4-FFF2-40B4-BE49-F238E27FC236}">
                <a16:creationId xmlns:a16="http://schemas.microsoft.com/office/drawing/2014/main" id="{68A1D1E7-25C3-42CA-9842-6F07A29A0D39}"/>
              </a:ext>
            </a:extLst>
          </p:cNvPr>
          <p:cNvSpPr/>
          <p:nvPr/>
        </p:nvSpPr>
        <p:spPr>
          <a:xfrm>
            <a:off x="4284596" y="3662414"/>
            <a:ext cx="3242277" cy="335448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14" tIns="35992" rIns="36014" bIns="35992" rtlCol="0" anchor="ctr"/>
          <a:lstStyle/>
          <a:p>
            <a:pPr algn="ctr" defTabSz="1219657" hangingPunct="0">
              <a:defRPr/>
            </a:pP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Links</a:t>
            </a:r>
          </a:p>
        </p:txBody>
      </p:sp>
    </p:spTree>
    <p:extLst>
      <p:ext uri="{BB962C8B-B14F-4D97-AF65-F5344CB8AC3E}">
        <p14:creationId xmlns:p14="http://schemas.microsoft.com/office/powerpoint/2010/main" val="16501755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EC6B9B-915B-44B0-B176-B2C5D78DEB4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F7C1D4-9868-45FB-959E-F89F47D61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mmon Ingestion Model (CIM)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8504E4D-2044-496F-96E9-D2DECD0D9B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312AA56-0574-4FB0-AD7F-1ADDAB0031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955" y="1156233"/>
            <a:ext cx="7588885" cy="518594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8478B74-3231-4BF4-8F4F-CB4C199892CB}"/>
              </a:ext>
            </a:extLst>
          </p:cNvPr>
          <p:cNvSpPr txBox="1"/>
          <p:nvPr/>
        </p:nvSpPr>
        <p:spPr>
          <a:xfrm>
            <a:off x="8039099" y="1156233"/>
            <a:ext cx="3634739" cy="51005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1983" tIns="71983" rIns="71983" bIns="71983" rtlCol="0">
            <a:spAutoFit/>
          </a:bodyPr>
          <a:lstStyle/>
          <a:p>
            <a:pPr lvl="0"/>
            <a:r>
              <a:rPr lang="en-US" sz="12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als &amp; Principles</a:t>
            </a:r>
          </a:p>
          <a:p>
            <a:pPr marL="342831" indent="-342831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95095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M is an interface definition for global projects. Main </a:t>
            </a:r>
            <a:r>
              <a:rPr lang="en-US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al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the CIM is to create a </a:t>
            </a:r>
            <a:r>
              <a:rPr lang="en-US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obal view 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 all business entities available within the Ontology and the Global Business Glossary.</a:t>
            </a:r>
          </a:p>
          <a:p>
            <a:pPr marL="495095" indent="-14400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95095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 also defines the relationships between those entities and establishes </a:t>
            </a:r>
            <a:r>
              <a:rPr lang="en-US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e single, harmonized point of truth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495095" indent="-14400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95095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M follows </a:t>
            </a:r>
            <a:r>
              <a:rPr lang="en-US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Vault 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nciples and is therefore:</a:t>
            </a:r>
          </a:p>
          <a:p>
            <a:pPr marL="952295" lvl="1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exible to changes</a:t>
            </a:r>
          </a:p>
          <a:p>
            <a:pPr marL="952295" lvl="1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alable</a:t>
            </a:r>
          </a:p>
          <a:p>
            <a:pPr marL="952295" lvl="1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ditability.</a:t>
            </a:r>
          </a:p>
          <a:p>
            <a:pPr marL="495095" indent="-14400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95095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ing entities in the CIM can be reused by any new project and new OE onboarding.</a:t>
            </a:r>
          </a:p>
          <a:p>
            <a:pPr marL="351095"/>
            <a:endParaRPr lang="en-US" sz="12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95095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ly the following global projects are using the CIM:</a:t>
            </a:r>
          </a:p>
          <a:p>
            <a:pPr marL="495095" indent="-14400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2295" lvl="1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M Claims</a:t>
            </a:r>
          </a:p>
          <a:p>
            <a:pPr marL="952295" lvl="1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rcial P&amp;C</a:t>
            </a:r>
          </a:p>
          <a:p>
            <a:pPr marL="952295" lvl="1" indent="-1440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ex for ADH</a:t>
            </a:r>
            <a:endParaRPr lang="en-US" sz="11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3946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C5AD12E-11CD-4F25-8103-000CC9F843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4" imgW="526" imgH="529" progId="TCLayout.ActiveDocument.1">
                  <p:embed/>
                </p:oleObj>
              </mc:Choice>
              <mc:Fallback>
                <p:oleObj name="think-cell Slide" r:id="rId4" imgW="526" imgH="5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C5AD12E-11CD-4F25-8103-000CC9F84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7DE9121B-5E29-476E-A659-CE59D8F2D7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8313" y="1557383"/>
            <a:ext cx="10388084" cy="1676355"/>
          </a:xfrm>
        </p:spPr>
        <p:txBody>
          <a:bodyPr vert="horz" anchor="ctr"/>
          <a:lstStyle/>
          <a:p>
            <a:r>
              <a:rPr lang="de-DE" sz="6200" b="1" dirty="0">
                <a:latin typeface="+mj-lt"/>
                <a:cs typeface="Arial" panose="020B0604020202020204" pitchFamily="34" charset="0"/>
              </a:rPr>
              <a:t>Claims MIS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EE9B0C72-0DB7-40B9-9454-264D9D37B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313" y="3429022"/>
            <a:ext cx="7442199" cy="1676355"/>
          </a:xfrm>
        </p:spPr>
        <p:txBody>
          <a:bodyPr/>
          <a:lstStyle/>
          <a:p>
            <a:pPr algn="l"/>
            <a:r>
              <a:rPr lang="de-DE" sz="3600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cs typeface="Arial" panose="020B0604020202020204" pitchFamily="34" charset="0"/>
              </a:rPr>
              <a:t>Architecture View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98AEBA-199A-4BF6-8FB1-7D6A67A46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>
                <a:latin typeface="+mj-lt"/>
                <a:cs typeface="Arial" panose="020B0604020202020204" pitchFamily="34" charset="0"/>
              </a:rPr>
              <a:t>Munich, Nov 202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3B89230-E18A-4D4A-90BE-E29B352BE7C4}"/>
              </a:ext>
            </a:extLst>
          </p:cNvPr>
          <p:cNvSpPr/>
          <p:nvPr/>
        </p:nvSpPr>
        <p:spPr>
          <a:xfrm>
            <a:off x="8450262" y="2268538"/>
            <a:ext cx="2751137" cy="27685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lianz Neo PPT"/>
              <a:ea typeface="+mn-ea"/>
              <a:cs typeface="+mn-cs"/>
            </a:endParaRP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D31FA94F-7778-450F-B400-F50DCB16E50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8" r="16678"/>
          <a:stretch/>
        </p:blipFill>
        <p:spPr>
          <a:xfrm flipH="1">
            <a:off x="8565830" y="2392815"/>
            <a:ext cx="2520000" cy="252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4729638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Rectangle 196">
            <a:extLst>
              <a:ext uri="{FF2B5EF4-FFF2-40B4-BE49-F238E27FC236}">
                <a16:creationId xmlns:a16="http://schemas.microsoft.com/office/drawing/2014/main" id="{E898FE3D-5AF8-4B3E-B798-28BBB1EA1CF3}"/>
              </a:ext>
            </a:extLst>
          </p:cNvPr>
          <p:cNvSpPr/>
          <p:nvPr/>
        </p:nvSpPr>
        <p:spPr>
          <a:xfrm>
            <a:off x="3348276" y="5207749"/>
            <a:ext cx="4496313" cy="95650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ACC7CDC-4AC0-5147-A00F-5B7A09A6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7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ACC7CDC-4AC0-5147-A00F-5B7A09A6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93" y="1587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3F567CF-62A7-47C0-AC24-632C92F5B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2" y="515819"/>
            <a:ext cx="10674352" cy="467227"/>
          </a:xfrm>
        </p:spPr>
        <p:txBody>
          <a:bodyPr vert="horz"/>
          <a:lstStyle/>
          <a:p>
            <a:r>
              <a:rPr lang="en-GB" sz="2800" cap="all" dirty="0">
                <a:solidFill>
                  <a:srgbClr val="006192"/>
                </a:solidFill>
                <a:latin typeface="Allianz Neo" panose="020B0504020203020204" pitchFamily="34" charset="0"/>
              </a:rPr>
              <a:t>WHY : GOAL &amp; VISION OF CLAIMS MIS in a nutshell</a:t>
            </a:r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191E6E3F-D4E6-440B-B59C-6D36247266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0467" y="1724523"/>
            <a:ext cx="2607148" cy="1260000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49C57CB4-B03A-483A-A663-EC47930A7D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4848" y="3344288"/>
            <a:ext cx="2578386" cy="1260000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4" name="Picture 173">
            <a:extLst>
              <a:ext uri="{FF2B5EF4-FFF2-40B4-BE49-F238E27FC236}">
                <a16:creationId xmlns:a16="http://schemas.microsoft.com/office/drawing/2014/main" id="{7208B233-1404-4989-B58C-27556D8640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002" y="4964053"/>
            <a:ext cx="2572190" cy="1260000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6" name="TextBox 175">
            <a:extLst>
              <a:ext uri="{FF2B5EF4-FFF2-40B4-BE49-F238E27FC236}">
                <a16:creationId xmlns:a16="http://schemas.microsoft.com/office/drawing/2014/main" id="{BD949EAE-454C-4C50-B9CA-1EB998094768}"/>
              </a:ext>
            </a:extLst>
          </p:cNvPr>
          <p:cNvSpPr txBox="1"/>
          <p:nvPr/>
        </p:nvSpPr>
        <p:spPr>
          <a:xfrm>
            <a:off x="3348276" y="1636525"/>
            <a:ext cx="449631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Claims MI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serves as a comprehensive reporting suite for Claims (senior) managemen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o facilitate effectiv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business steering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and enable performance comparisons across O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58BDAADA-088F-4345-BBE8-294BEFF29884}"/>
              </a:ext>
            </a:extLst>
          </p:cNvPr>
          <p:cNvSpPr txBox="1"/>
          <p:nvPr/>
        </p:nvSpPr>
        <p:spPr>
          <a:xfrm>
            <a:off x="8114097" y="1663920"/>
            <a:ext cx="5064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Vision / Key principles: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22FDF37C-E2D5-4DE8-9B3E-8E27DECE9FFB}"/>
              </a:ext>
            </a:extLst>
          </p:cNvPr>
          <p:cNvSpPr txBox="1"/>
          <p:nvPr/>
        </p:nvSpPr>
        <p:spPr>
          <a:xfrm>
            <a:off x="8775378" y="2156558"/>
            <a:ext cx="32443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Globally harmonized KPIs </a:t>
            </a:r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DDDA89EE-25A5-4279-AA90-D0990E12506B}"/>
              </a:ext>
            </a:extLst>
          </p:cNvPr>
          <p:cNvGrpSpPr/>
          <p:nvPr/>
        </p:nvGrpSpPr>
        <p:grpSpPr>
          <a:xfrm>
            <a:off x="8145378" y="2085706"/>
            <a:ext cx="540000" cy="540000"/>
            <a:chOff x="498294" y="-693186"/>
            <a:chExt cx="540000" cy="540000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212AABE7-FA8E-498E-A649-A74A7D3414FF}"/>
                </a:ext>
              </a:extLst>
            </p:cNvPr>
            <p:cNvSpPr/>
            <p:nvPr/>
          </p:nvSpPr>
          <p:spPr>
            <a:xfrm>
              <a:off x="498294" y="-693186"/>
              <a:ext cx="540000" cy="540000"/>
            </a:xfrm>
            <a:prstGeom prst="ellipse">
              <a:avLst/>
            </a:prstGeom>
            <a:solidFill>
              <a:srgbClr val="006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84" name="Graphic 183" descr="Gauge with solid fill">
              <a:extLst>
                <a:ext uri="{FF2B5EF4-FFF2-40B4-BE49-F238E27FC236}">
                  <a16:creationId xmlns:a16="http://schemas.microsoft.com/office/drawing/2014/main" id="{7CE0EDDF-2BE5-464C-ABC8-AA978410D5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8294" y="-653256"/>
              <a:ext cx="360000" cy="360000"/>
            </a:xfrm>
            <a:prstGeom prst="rect">
              <a:avLst/>
            </a:prstGeom>
          </p:spPr>
        </p:pic>
      </p:grpSp>
      <p:sp>
        <p:nvSpPr>
          <p:cNvPr id="186" name="Oval 185">
            <a:extLst>
              <a:ext uri="{FF2B5EF4-FFF2-40B4-BE49-F238E27FC236}">
                <a16:creationId xmlns:a16="http://schemas.microsoft.com/office/drawing/2014/main" id="{9D043C34-A4C0-48C3-A837-F9D8EB66D13D}"/>
              </a:ext>
            </a:extLst>
          </p:cNvPr>
          <p:cNvSpPr/>
          <p:nvPr/>
        </p:nvSpPr>
        <p:spPr>
          <a:xfrm>
            <a:off x="8145378" y="2723627"/>
            <a:ext cx="540000" cy="540000"/>
          </a:xfrm>
          <a:prstGeom prst="ellipse">
            <a:avLst/>
          </a:prstGeom>
          <a:solidFill>
            <a:srgbClr val="006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38EE7458-3D79-40FB-A2C0-942F6CE6E7C1}"/>
              </a:ext>
            </a:extLst>
          </p:cNvPr>
          <p:cNvSpPr txBox="1"/>
          <p:nvPr/>
        </p:nvSpPr>
        <p:spPr>
          <a:xfrm>
            <a:off x="8775378" y="2824350"/>
            <a:ext cx="32443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BMP + Legacy data included</a:t>
            </a: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E005B301-3D50-40EC-A934-09AFFFA357C2}"/>
              </a:ext>
            </a:extLst>
          </p:cNvPr>
          <p:cNvSpPr/>
          <p:nvPr/>
        </p:nvSpPr>
        <p:spPr>
          <a:xfrm>
            <a:off x="8145378" y="3371900"/>
            <a:ext cx="540000" cy="540000"/>
          </a:xfrm>
          <a:prstGeom prst="ellipse">
            <a:avLst/>
          </a:prstGeom>
          <a:solidFill>
            <a:srgbClr val="006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A40CF4C1-4F0B-4B39-B51D-48366DA3C772}"/>
              </a:ext>
            </a:extLst>
          </p:cNvPr>
          <p:cNvSpPr txBox="1"/>
          <p:nvPr/>
        </p:nvSpPr>
        <p:spPr>
          <a:xfrm>
            <a:off x="8775378" y="3339321"/>
            <a:ext cx="30161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Automated data transfers from all relevant source systems</a:t>
            </a:r>
          </a:p>
        </p:txBody>
      </p:sp>
      <p:pic>
        <p:nvPicPr>
          <p:cNvPr id="194" name="Graphic 193" descr="Database with solid fill">
            <a:extLst>
              <a:ext uri="{FF2B5EF4-FFF2-40B4-BE49-F238E27FC236}">
                <a16:creationId xmlns:a16="http://schemas.microsoft.com/office/drawing/2014/main" id="{79FDE96B-73EA-4A8B-A7FC-D5296B581F4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254628" y="2836799"/>
            <a:ext cx="324000" cy="324000"/>
          </a:xfrm>
          <a:prstGeom prst="rect">
            <a:avLst/>
          </a:prstGeom>
        </p:spPr>
      </p:pic>
      <p:pic>
        <p:nvPicPr>
          <p:cNvPr id="196" name="Graphic 195" descr="Usb Stick outline">
            <a:extLst>
              <a:ext uri="{FF2B5EF4-FFF2-40B4-BE49-F238E27FC236}">
                <a16:creationId xmlns:a16="http://schemas.microsoft.com/office/drawing/2014/main" id="{0E346329-933C-4A2A-81B0-FBC185155A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254628" y="3450458"/>
            <a:ext cx="360000" cy="360000"/>
          </a:xfrm>
          <a:prstGeom prst="rect">
            <a:avLst/>
          </a:prstGeom>
        </p:spPr>
      </p:pic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3E972EF5-4921-4FDC-913E-0F1F866EC9A3}"/>
              </a:ext>
            </a:extLst>
          </p:cNvPr>
          <p:cNvCxnSpPr/>
          <p:nvPr/>
        </p:nvCxnSpPr>
        <p:spPr>
          <a:xfrm>
            <a:off x="7979343" y="1628775"/>
            <a:ext cx="0" cy="485317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Oval 237">
            <a:extLst>
              <a:ext uri="{FF2B5EF4-FFF2-40B4-BE49-F238E27FC236}">
                <a16:creationId xmlns:a16="http://schemas.microsoft.com/office/drawing/2014/main" id="{F12F838B-9ED1-469E-ABE2-60284C8D089B}"/>
              </a:ext>
            </a:extLst>
          </p:cNvPr>
          <p:cNvSpPr/>
          <p:nvPr/>
        </p:nvSpPr>
        <p:spPr>
          <a:xfrm>
            <a:off x="8162224" y="4864095"/>
            <a:ext cx="324000" cy="32400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+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239" name="Oval 238">
            <a:extLst>
              <a:ext uri="{FF2B5EF4-FFF2-40B4-BE49-F238E27FC236}">
                <a16:creationId xmlns:a16="http://schemas.microsoft.com/office/drawing/2014/main" id="{55E5623A-FA74-42D0-81F2-BA44E6C1FC6A}"/>
              </a:ext>
            </a:extLst>
          </p:cNvPr>
          <p:cNvSpPr/>
          <p:nvPr/>
        </p:nvSpPr>
        <p:spPr>
          <a:xfrm>
            <a:off x="8162224" y="5362002"/>
            <a:ext cx="324000" cy="32400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+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240" name="Oval 239">
            <a:extLst>
              <a:ext uri="{FF2B5EF4-FFF2-40B4-BE49-F238E27FC236}">
                <a16:creationId xmlns:a16="http://schemas.microsoft.com/office/drawing/2014/main" id="{31D27082-ECA7-4E5E-9ABE-E67F4E6B5CE1}"/>
              </a:ext>
            </a:extLst>
          </p:cNvPr>
          <p:cNvSpPr/>
          <p:nvPr/>
        </p:nvSpPr>
        <p:spPr>
          <a:xfrm>
            <a:off x="8162224" y="5900053"/>
            <a:ext cx="324000" cy="324000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+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7A42156-BA88-44BB-9F36-16A994B31A3F}"/>
              </a:ext>
            </a:extLst>
          </p:cNvPr>
          <p:cNvSpPr/>
          <p:nvPr/>
        </p:nvSpPr>
        <p:spPr>
          <a:xfrm>
            <a:off x="479425" y="123825"/>
            <a:ext cx="288000" cy="288000"/>
          </a:xfrm>
          <a:prstGeom prst="ellipse">
            <a:avLst/>
          </a:prstGeom>
          <a:solidFill>
            <a:srgbClr val="006192"/>
          </a:solidFill>
          <a:ln w="2540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9C97C4-FBDA-4FA9-8AFE-F9D1C105C551}"/>
              </a:ext>
            </a:extLst>
          </p:cNvPr>
          <p:cNvSpPr txBox="1"/>
          <p:nvPr/>
        </p:nvSpPr>
        <p:spPr>
          <a:xfrm>
            <a:off x="771525" y="133350"/>
            <a:ext cx="3552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Claims MIS: An Overview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4674FCA-D4B8-4694-BE16-B023E6A2E479}"/>
              </a:ext>
            </a:extLst>
          </p:cNvPr>
          <p:cNvSpPr txBox="1"/>
          <p:nvPr/>
        </p:nvSpPr>
        <p:spPr>
          <a:xfrm>
            <a:off x="3348276" y="3281607"/>
            <a:ext cx="4448187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Reporting Objectiv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62003" marR="0" lvl="0" indent="-162003" algn="l" defTabSz="864017" rtl="0" eaLnBrk="1" fontAlgn="auto" latinLnBrk="0" hangingPunct="1">
              <a:lnSpc>
                <a:spcPct val="100000"/>
              </a:lnSpc>
              <a:spcBef>
                <a:spcPts val="472"/>
              </a:spcBef>
              <a:spcAft>
                <a:spcPts val="472"/>
              </a:spcAft>
              <a:buClr>
                <a:srgbClr val="4964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rack impac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of ACM Claims initiatives and calibrate ambitions</a:t>
            </a:r>
          </a:p>
          <a:p>
            <a:pPr marL="162003" marR="0" lvl="0" indent="-162003" algn="l" defTabSz="864017" rtl="0" eaLnBrk="1" fontAlgn="auto" latinLnBrk="0" hangingPunct="1">
              <a:lnSpc>
                <a:spcPct val="100000"/>
              </a:lnSpc>
              <a:spcBef>
                <a:spcPts val="472"/>
              </a:spcBef>
              <a:spcAft>
                <a:spcPts val="472"/>
              </a:spcAft>
              <a:buClr>
                <a:srgbClr val="4964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Compar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rends and performanc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of OEs based o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harmonized KPI perspectiv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following the logic of Acc. ACM Claims</a:t>
            </a:r>
          </a:p>
          <a:p>
            <a:pPr marL="162003" marR="0" lvl="0" indent="-162003" algn="l" defTabSz="864017" rtl="0" eaLnBrk="1" fontAlgn="auto" latinLnBrk="0" hangingPunct="1">
              <a:lnSpc>
                <a:spcPct val="100000"/>
              </a:lnSpc>
              <a:spcBef>
                <a:spcPts val="472"/>
              </a:spcBef>
              <a:spcAft>
                <a:spcPts val="472"/>
              </a:spcAft>
              <a:buClr>
                <a:srgbClr val="49648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Allow analysis of drivers behind KPI development through drill-dow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60A084A-F20E-4510-9B48-45014A35C1E3}"/>
              </a:ext>
            </a:extLst>
          </p:cNvPr>
          <p:cNvSpPr txBox="1"/>
          <p:nvPr/>
        </p:nvSpPr>
        <p:spPr>
          <a:xfrm>
            <a:off x="8114097" y="4080017"/>
            <a:ext cx="5064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echnology: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5F197C3-2FC3-483F-B5F6-F1654C0B3985}"/>
              </a:ext>
            </a:extLst>
          </p:cNvPr>
          <p:cNvSpPr txBox="1"/>
          <p:nvPr/>
        </p:nvSpPr>
        <p:spPr>
          <a:xfrm>
            <a:off x="8235378" y="4565744"/>
            <a:ext cx="3556127" cy="331661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Visualization Tool: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9648C">
                    <a:lumMod val="25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Microstrategy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49648C">
                  <a:lumMod val="25000"/>
                </a:srgbClr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Cloud: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Az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Data Platform: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GD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Data Source: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Legac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echnical Features: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Automated pipeli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4CDCD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41952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ACC7CDC-4AC0-5147-A00F-5B7A09A6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7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ACC7CDC-4AC0-5147-A00F-5B7A09A6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93" y="1587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3F567CF-62A7-47C0-AC24-632C92F5B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2" y="515819"/>
            <a:ext cx="10674352" cy="467227"/>
          </a:xfrm>
        </p:spPr>
        <p:txBody>
          <a:bodyPr vert="horz"/>
          <a:lstStyle/>
          <a:p>
            <a:r>
              <a:rPr lang="en-GB" sz="2800" cap="all" dirty="0">
                <a:solidFill>
                  <a:srgbClr val="006192"/>
                </a:solidFill>
                <a:latin typeface="Allianz Neo" panose="020B0504020203020204" pitchFamily="34" charset="0"/>
              </a:rPr>
              <a:t>Claims MIS: ARCHITECTURE VIEW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7A42156-BA88-44BB-9F36-16A994B31A3F}"/>
              </a:ext>
            </a:extLst>
          </p:cNvPr>
          <p:cNvSpPr/>
          <p:nvPr/>
        </p:nvSpPr>
        <p:spPr>
          <a:xfrm>
            <a:off x="479425" y="123825"/>
            <a:ext cx="288000" cy="288000"/>
          </a:xfrm>
          <a:prstGeom prst="ellipse">
            <a:avLst/>
          </a:prstGeom>
          <a:solidFill>
            <a:srgbClr val="006192"/>
          </a:solidFill>
          <a:ln w="2540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9C97C4-FBDA-4FA9-8AFE-F9D1C105C551}"/>
              </a:ext>
            </a:extLst>
          </p:cNvPr>
          <p:cNvSpPr txBox="1"/>
          <p:nvPr/>
        </p:nvSpPr>
        <p:spPr>
          <a:xfrm>
            <a:off x="771525" y="133350"/>
            <a:ext cx="3552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Claims MIS: Architecture View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B653A668-285A-42AD-8239-BDEBF8A2FD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8002" y="1099440"/>
            <a:ext cx="10331234" cy="562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285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C5AD12E-11CD-4F25-8103-000CC9F843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4" imgW="526" imgH="529" progId="TCLayout.ActiveDocument.1">
                  <p:embed/>
                </p:oleObj>
              </mc:Choice>
              <mc:Fallback>
                <p:oleObj name="think-cell Slide" r:id="rId4" imgW="526" imgH="5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C5AD12E-11CD-4F25-8103-000CC9F84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7DE9121B-5E29-476E-A659-CE59D8F2D7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8313" y="1557383"/>
            <a:ext cx="10388084" cy="1676355"/>
          </a:xfrm>
        </p:spPr>
        <p:txBody>
          <a:bodyPr vert="horz" anchor="ctr"/>
          <a:lstStyle/>
          <a:p>
            <a:r>
              <a:rPr lang="de-DE" sz="6200" b="1" dirty="0">
                <a:latin typeface="+mj-lt"/>
                <a:cs typeface="Arial" panose="020B0604020202020204" pitchFamily="34" charset="0"/>
              </a:rPr>
              <a:t>Claims Severity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EE9B0C72-0DB7-40B9-9454-264D9D37B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313" y="3429022"/>
            <a:ext cx="7442199" cy="1676355"/>
          </a:xfrm>
        </p:spPr>
        <p:txBody>
          <a:bodyPr/>
          <a:lstStyle/>
          <a:p>
            <a:pPr algn="l"/>
            <a:r>
              <a:rPr lang="de-DE" sz="3600" b="1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cs typeface="Arial" panose="020B0604020202020204" pitchFamily="34" charset="0"/>
              </a:rPr>
              <a:t>Architecture View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98AEBA-199A-4BF6-8FB1-7D6A67A46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 dirty="0">
                <a:latin typeface="+mj-lt"/>
                <a:cs typeface="Arial" panose="020B0604020202020204" pitchFamily="34" charset="0"/>
              </a:rPr>
              <a:t>Munich, Nov 202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3B89230-E18A-4D4A-90BE-E29B352BE7C4}"/>
              </a:ext>
            </a:extLst>
          </p:cNvPr>
          <p:cNvSpPr/>
          <p:nvPr/>
        </p:nvSpPr>
        <p:spPr>
          <a:xfrm>
            <a:off x="8450262" y="2268538"/>
            <a:ext cx="2751137" cy="27685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lianz Neo PPT"/>
              <a:ea typeface="+mn-ea"/>
              <a:cs typeface="+mn-cs"/>
            </a:endParaRP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D31FA94F-7778-450F-B400-F50DCB16E50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8" r="16678"/>
          <a:stretch/>
        </p:blipFill>
        <p:spPr>
          <a:xfrm flipH="1">
            <a:off x="8565830" y="2392815"/>
            <a:ext cx="2520000" cy="252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036439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80">
            <a:extLst>
              <a:ext uri="{FF2B5EF4-FFF2-40B4-BE49-F238E27FC236}">
                <a16:creationId xmlns:a16="http://schemas.microsoft.com/office/drawing/2014/main" id="{2965C8F4-36FC-42F2-B7BF-5E27972E795F}"/>
              </a:ext>
            </a:extLst>
          </p:cNvPr>
          <p:cNvSpPr/>
          <p:nvPr/>
        </p:nvSpPr>
        <p:spPr>
          <a:xfrm flipH="1">
            <a:off x="0" y="3617550"/>
            <a:ext cx="12191999" cy="32404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5" name="Graphic 34" descr="Toggle with solid fill">
            <a:extLst>
              <a:ext uri="{FF2B5EF4-FFF2-40B4-BE49-F238E27FC236}">
                <a16:creationId xmlns:a16="http://schemas.microsoft.com/office/drawing/2014/main" id="{AFCF7A5F-ED80-4C78-820C-4984A910E7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83209" y="4297374"/>
            <a:ext cx="384809" cy="46800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17801677-B13E-4923-9697-08551B986643}"/>
              </a:ext>
            </a:extLst>
          </p:cNvPr>
          <p:cNvSpPr txBox="1"/>
          <p:nvPr/>
        </p:nvSpPr>
        <p:spPr>
          <a:xfrm>
            <a:off x="4989875" y="4811076"/>
            <a:ext cx="1571477" cy="196286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6771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oggle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: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414141">
                  <a:lumMod val="50000"/>
                </a:srgbClr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Incurre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/Paid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Net/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Gro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Acciden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/Reporting Year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BBEC964-7EDA-426A-864C-1EB951C87D65}"/>
              </a:ext>
            </a:extLst>
          </p:cNvPr>
          <p:cNvSpPr txBox="1"/>
          <p:nvPr/>
        </p:nvSpPr>
        <p:spPr>
          <a:xfrm>
            <a:off x="5977926" y="1807153"/>
            <a:ext cx="2643125" cy="331661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Status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Pilot is ready for go-live; production ready for further roll-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Pilot O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Data Scope (Pilot)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Retail Motor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2019 - August 202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Go-Live (Pilot)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Q4 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Further roll-out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As of Q4 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F9ED67C-6D82-4F95-AA56-03C9577A9BE4}"/>
              </a:ext>
            </a:extLst>
          </p:cNvPr>
          <p:cNvSpPr txBox="1"/>
          <p:nvPr/>
        </p:nvSpPr>
        <p:spPr>
          <a:xfrm>
            <a:off x="3134780" y="1807153"/>
            <a:ext cx="2642838" cy="162184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Purpose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Interactive Dashboard for Group and OE User to understand the impact of inflation on claim cost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Main KPIs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Overall claim cos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Overall amount of claim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Average claim co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238FEDDC-3F0B-46C1-831C-41AF30B9F3A8}"/>
              </a:ext>
            </a:extLst>
          </p:cNvPr>
          <p:cNvSpPr/>
          <p:nvPr/>
        </p:nvSpPr>
        <p:spPr>
          <a:xfrm>
            <a:off x="9031007" y="1405341"/>
            <a:ext cx="2004856" cy="295607"/>
          </a:xfrm>
          <a:prstGeom prst="roundRect">
            <a:avLst/>
          </a:prstGeom>
          <a:solidFill>
            <a:srgbClr val="0037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echnology 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0D354B-FBEF-9148-AA5C-EC7752A397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0D354B-FBEF-9148-AA5C-EC7752A397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itel 3">
            <a:extLst>
              <a:ext uri="{FF2B5EF4-FFF2-40B4-BE49-F238E27FC236}">
                <a16:creationId xmlns:a16="http://schemas.microsoft.com/office/drawing/2014/main" id="{AAED19A1-7D81-4AE1-9CF5-23D8878A1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589969"/>
            <a:ext cx="11216964" cy="421361"/>
          </a:xfrm>
        </p:spPr>
        <p:txBody>
          <a:bodyPr vert="horz"/>
          <a:lstStyle/>
          <a:p>
            <a:r>
              <a:rPr lang="en-US" sz="3000" dirty="0">
                <a:solidFill>
                  <a:srgbClr val="13A0D3"/>
                </a:solidFill>
                <a:latin typeface="Allianz Neo" panose="020B0504020203020204" pitchFamily="34" charset="0"/>
              </a:rPr>
              <a:t>WHAT’S IN THE BOX: </a:t>
            </a:r>
            <a:r>
              <a:rPr lang="en-US" sz="3000" dirty="0">
                <a:latin typeface="Allianz Neo" panose="020B0504020203020204" pitchFamily="34" charset="0"/>
              </a:rPr>
              <a:t>Claims Inflation Dashboard at a Glance  </a:t>
            </a:r>
            <a:endParaRPr lang="en-GB" sz="3000" dirty="0">
              <a:latin typeface="Allianz Neo" panose="020B0504020203020204" pitchFamily="34" charset="0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2F171438-8AB2-44DA-B95C-8B2777C1970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866"/>
          <a:stretch/>
        </p:blipFill>
        <p:spPr>
          <a:xfrm>
            <a:off x="495611" y="1473766"/>
            <a:ext cx="2160000" cy="1080000"/>
          </a:xfrm>
          <a:prstGeom prst="rect">
            <a:avLst/>
          </a:prstGeom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E8298723-6291-4473-8C0C-C06775E4036D}"/>
              </a:ext>
            </a:extLst>
          </p:cNvPr>
          <p:cNvGrpSpPr/>
          <p:nvPr/>
        </p:nvGrpSpPr>
        <p:grpSpPr>
          <a:xfrm>
            <a:off x="3116492" y="1372769"/>
            <a:ext cx="281999" cy="282295"/>
            <a:chOff x="3124199" y="1786403"/>
            <a:chExt cx="342900" cy="330200"/>
          </a:xfrm>
          <a:solidFill>
            <a:schemeClr val="accent6">
              <a:lumMod val="75000"/>
            </a:schemeClr>
          </a:solidFill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D7361039-6D47-45A9-A1F1-D9EFFB007F9A}"/>
                </a:ext>
              </a:extLst>
            </p:cNvPr>
            <p:cNvSpPr/>
            <p:nvPr/>
          </p:nvSpPr>
          <p:spPr>
            <a:xfrm>
              <a:off x="3124199" y="1786403"/>
              <a:ext cx="342900" cy="330200"/>
            </a:xfrm>
            <a:prstGeom prst="ellipse">
              <a:avLst/>
            </a:prstGeom>
            <a:solidFill>
              <a:srgbClr val="F8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 PPT"/>
                <a:ea typeface="+mn-ea"/>
                <a:cs typeface="+mn-cs"/>
              </a:endParaRPr>
            </a:p>
          </p:txBody>
        </p:sp>
        <p:pic>
          <p:nvPicPr>
            <p:cNvPr id="59" name="Graphic 58" descr="Bullseye with solid fill">
              <a:extLst>
                <a:ext uri="{FF2B5EF4-FFF2-40B4-BE49-F238E27FC236}">
                  <a16:creationId xmlns:a16="http://schemas.microsoft.com/office/drawing/2014/main" id="{6581BCF8-F0EA-4825-BA8D-B7FBDC2ACD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171825" y="1824503"/>
              <a:ext cx="252000" cy="252000"/>
            </a:xfrm>
            <a:prstGeom prst="rect">
              <a:avLst/>
            </a:prstGeom>
          </p:spPr>
        </p:pic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9B57DE1A-1869-4F2B-9C36-3954B1AD6020}"/>
              </a:ext>
            </a:extLst>
          </p:cNvPr>
          <p:cNvSpPr txBox="1"/>
          <p:nvPr/>
        </p:nvSpPr>
        <p:spPr>
          <a:xfrm>
            <a:off x="8821367" y="1807153"/>
            <a:ext cx="2643125" cy="331661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Visualization Tool: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CFCFCF">
                    <a:lumMod val="25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PowerBI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CFCFCF">
                    <a:lumMod val="25000"/>
                  </a:srgbClr>
                </a:solidFill>
                <a:effectLst/>
                <a:uLnTx/>
                <a:uFillTx/>
                <a:latin typeface="Allianz Neo PPT" panose="020B0604020202020204" charset="0"/>
                <a:ea typeface="+mn-ea"/>
                <a:cs typeface="+mn-cs"/>
              </a:rPr>
              <a:t>1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FCFCF">
                  <a:lumMod val="25000"/>
                </a:srgbClr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Cloud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Az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Data Platform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GD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Data Source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Legac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echnical Features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Automated pipeli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B0A52CA7-6FA9-40F9-B2D3-C5BE370AB0E5}"/>
              </a:ext>
            </a:extLst>
          </p:cNvPr>
          <p:cNvSpPr/>
          <p:nvPr/>
        </p:nvSpPr>
        <p:spPr>
          <a:xfrm>
            <a:off x="3476512" y="1377416"/>
            <a:ext cx="2004856" cy="295607"/>
          </a:xfrm>
          <a:prstGeom prst="roundRect">
            <a:avLst/>
          </a:prstGeom>
          <a:solidFill>
            <a:srgbClr val="0037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Enabled Use Case 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E6F0445E-6810-46B9-B44B-5619F1DE751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1937" y="2245002"/>
            <a:ext cx="196758" cy="196758"/>
          </a:xfrm>
          <a:prstGeom prst="rect">
            <a:avLst/>
          </a:prstGeom>
        </p:spPr>
      </p:pic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22DD5D9-31AA-4CB1-9E17-54848D3E2BCB}"/>
              </a:ext>
            </a:extLst>
          </p:cNvPr>
          <p:cNvCxnSpPr>
            <a:cxnSpLocks/>
          </p:cNvCxnSpPr>
          <p:nvPr/>
        </p:nvCxnSpPr>
        <p:spPr>
          <a:xfrm>
            <a:off x="5710260" y="1720835"/>
            <a:ext cx="12822" cy="1744626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0EC122A-0101-4AD7-9571-7C45A5C73A00}"/>
              </a:ext>
            </a:extLst>
          </p:cNvPr>
          <p:cNvCxnSpPr>
            <a:cxnSpLocks/>
          </p:cNvCxnSpPr>
          <p:nvPr/>
        </p:nvCxnSpPr>
        <p:spPr>
          <a:xfrm>
            <a:off x="8504738" y="1720835"/>
            <a:ext cx="12822" cy="1744626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597210E8-5DCC-4125-A414-D71AAB84865C}"/>
              </a:ext>
            </a:extLst>
          </p:cNvPr>
          <p:cNvSpPr/>
          <p:nvPr/>
        </p:nvSpPr>
        <p:spPr>
          <a:xfrm>
            <a:off x="6253760" y="1377416"/>
            <a:ext cx="2004856" cy="295607"/>
          </a:xfrm>
          <a:prstGeom prst="roundRect">
            <a:avLst/>
          </a:prstGeom>
          <a:solidFill>
            <a:srgbClr val="0037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Scope &amp; Status 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180C96A-FCC9-41C5-902B-3E65FD13599A}"/>
              </a:ext>
            </a:extLst>
          </p:cNvPr>
          <p:cNvGrpSpPr/>
          <p:nvPr/>
        </p:nvGrpSpPr>
        <p:grpSpPr>
          <a:xfrm>
            <a:off x="5893480" y="1372769"/>
            <a:ext cx="282295" cy="282295"/>
            <a:chOff x="5601440" y="4484731"/>
            <a:chExt cx="2236579" cy="2153743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488F0B50-8AD1-464B-B7F1-4EDC1E0A643F}"/>
                </a:ext>
              </a:extLst>
            </p:cNvPr>
            <p:cNvSpPr/>
            <p:nvPr/>
          </p:nvSpPr>
          <p:spPr>
            <a:xfrm>
              <a:off x="5601440" y="4484731"/>
              <a:ext cx="2236579" cy="2153743"/>
            </a:xfrm>
            <a:prstGeom prst="ellipse">
              <a:avLst/>
            </a:prstGeom>
            <a:solidFill>
              <a:srgbClr val="F8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 PPT"/>
                <a:ea typeface="+mn-ea"/>
                <a:cs typeface="+mn-cs"/>
              </a:endParaRPr>
            </a:p>
          </p:txBody>
        </p:sp>
        <p:pic>
          <p:nvPicPr>
            <p:cNvPr id="76" name="Graphic 75" descr="Database with solid fill">
              <a:extLst>
                <a:ext uri="{FF2B5EF4-FFF2-40B4-BE49-F238E27FC236}">
                  <a16:creationId xmlns:a16="http://schemas.microsoft.com/office/drawing/2014/main" id="{4DC5944C-1C26-4C77-87C3-FD123F661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994664" y="4836537"/>
              <a:ext cx="1450131" cy="1450131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E820FB9-BEEE-4757-9C5E-9597C874B0DB}"/>
              </a:ext>
            </a:extLst>
          </p:cNvPr>
          <p:cNvGrpSpPr/>
          <p:nvPr/>
        </p:nvGrpSpPr>
        <p:grpSpPr>
          <a:xfrm>
            <a:off x="8670727" y="1372769"/>
            <a:ext cx="282295" cy="282295"/>
            <a:chOff x="9144411" y="3270161"/>
            <a:chExt cx="2236579" cy="2153743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3A0DA1F0-EE3D-474D-9851-FDA60E9C7882}"/>
                </a:ext>
              </a:extLst>
            </p:cNvPr>
            <p:cNvSpPr/>
            <p:nvPr/>
          </p:nvSpPr>
          <p:spPr>
            <a:xfrm>
              <a:off x="9144411" y="3270161"/>
              <a:ext cx="2236579" cy="2153743"/>
            </a:xfrm>
            <a:prstGeom prst="ellipse">
              <a:avLst/>
            </a:prstGeom>
            <a:solidFill>
              <a:srgbClr val="F86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 PPT"/>
                <a:ea typeface="+mn-ea"/>
                <a:cs typeface="+mn-cs"/>
              </a:endParaRPr>
            </a:p>
          </p:txBody>
        </p:sp>
        <p:pic>
          <p:nvPicPr>
            <p:cNvPr id="77" name="Graphic 76" descr="Screwdriver with solid fill">
              <a:extLst>
                <a:ext uri="{FF2B5EF4-FFF2-40B4-BE49-F238E27FC236}">
                  <a16:creationId xmlns:a16="http://schemas.microsoft.com/office/drawing/2014/main" id="{141BA34C-A6FE-4BC3-A500-BD76B4A43D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603589" y="3687921"/>
              <a:ext cx="1318222" cy="1318222"/>
            </a:xfrm>
            <a:prstGeom prst="rect">
              <a:avLst/>
            </a:prstGeom>
          </p:spPr>
        </p:pic>
      </p:grp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57898C46-621C-49F7-9D60-CC776DC9F425}"/>
              </a:ext>
            </a:extLst>
          </p:cNvPr>
          <p:cNvSpPr/>
          <p:nvPr/>
        </p:nvSpPr>
        <p:spPr>
          <a:xfrm>
            <a:off x="513866" y="3755515"/>
            <a:ext cx="5041512" cy="281738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Key Functionalities &amp; Features </a:t>
            </a:r>
          </a:p>
        </p:txBody>
      </p:sp>
      <p:pic>
        <p:nvPicPr>
          <p:cNvPr id="33" name="Graphic 32" descr="Filter with solid fill">
            <a:extLst>
              <a:ext uri="{FF2B5EF4-FFF2-40B4-BE49-F238E27FC236}">
                <a16:creationId xmlns:a16="http://schemas.microsoft.com/office/drawing/2014/main" id="{872D0A90-3BB0-48CD-A50D-A631330D3F0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848661" y="4297374"/>
            <a:ext cx="352532" cy="4680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6A57242-0E23-43DB-8F71-55174D906286}"/>
              </a:ext>
            </a:extLst>
          </p:cNvPr>
          <p:cNvSpPr txBox="1"/>
          <p:nvPr/>
        </p:nvSpPr>
        <p:spPr>
          <a:xfrm>
            <a:off x="7211391" y="4811076"/>
            <a:ext cx="1627072" cy="196286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Dynamic Filters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414141">
                    <a:lumMod val="50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: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414141">
                  <a:lumMod val="50000"/>
                </a:srgbClr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O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Seg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LoB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Loss typ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Cos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 typ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…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B0C56CF-0102-459C-AA85-EADFCAC2D09A}"/>
              </a:ext>
            </a:extLst>
          </p:cNvPr>
          <p:cNvSpPr txBox="1"/>
          <p:nvPr/>
        </p:nvSpPr>
        <p:spPr>
          <a:xfrm>
            <a:off x="581644" y="4811076"/>
            <a:ext cx="1518296" cy="196286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677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Functional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 Views: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Group User View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OE User Portfolio View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Detailed Analysis Views</a:t>
            </a:r>
          </a:p>
        </p:txBody>
      </p:sp>
      <p:grpSp>
        <p:nvGrpSpPr>
          <p:cNvPr id="46" name="组合 24">
            <a:extLst>
              <a:ext uri="{FF2B5EF4-FFF2-40B4-BE49-F238E27FC236}">
                <a16:creationId xmlns:a16="http://schemas.microsoft.com/office/drawing/2014/main" id="{08BB27C4-380F-46CF-8657-B8F4E58456F9}"/>
              </a:ext>
            </a:extLst>
          </p:cNvPr>
          <p:cNvGrpSpPr>
            <a:grpSpLocks/>
          </p:cNvGrpSpPr>
          <p:nvPr/>
        </p:nvGrpSpPr>
        <p:grpSpPr bwMode="auto">
          <a:xfrm>
            <a:off x="1138692" y="4297374"/>
            <a:ext cx="404201" cy="468000"/>
            <a:chOff x="0" y="0"/>
            <a:chExt cx="1009650" cy="1139826"/>
          </a:xfrm>
          <a:solidFill>
            <a:srgbClr val="003781"/>
          </a:solidFill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2A1289E6-F50D-4611-BA4F-2F43AA5B55BD}"/>
                </a:ext>
              </a:extLst>
            </p:cNvPr>
            <p:cNvSpPr>
              <a:spLocks noEditPoints="1" noChangeArrowheads="1"/>
            </p:cNvSpPr>
            <p:nvPr/>
          </p:nvSpPr>
          <p:spPr bwMode="auto">
            <a:xfrm>
              <a:off x="274637" y="0"/>
              <a:ext cx="460375" cy="598488"/>
            </a:xfrm>
            <a:custGeom>
              <a:avLst/>
              <a:gdLst>
                <a:gd name="T0" fmla="*/ 583830971 w 122"/>
                <a:gd name="T1" fmla="*/ 56671920 h 159"/>
                <a:gd name="T2" fmla="*/ 1381260848 w 122"/>
                <a:gd name="T3" fmla="*/ 170019525 h 159"/>
                <a:gd name="T4" fmla="*/ 1708776152 w 122"/>
                <a:gd name="T5" fmla="*/ 821757901 h 159"/>
                <a:gd name="T6" fmla="*/ 1723013815 w 122"/>
                <a:gd name="T7" fmla="*/ 1331816476 h 159"/>
                <a:gd name="T8" fmla="*/ 1466698147 w 122"/>
                <a:gd name="T9" fmla="*/ 1785203130 h 159"/>
                <a:gd name="T10" fmla="*/ 897108612 w 122"/>
                <a:gd name="T11" fmla="*/ 2147483646 h 159"/>
                <a:gd name="T12" fmla="*/ 270557105 w 122"/>
                <a:gd name="T13" fmla="*/ 1785203130 h 159"/>
                <a:gd name="T14" fmla="*/ 14241436 w 122"/>
                <a:gd name="T15" fmla="*/ 1331816476 h 159"/>
                <a:gd name="T16" fmla="*/ 42720536 w 122"/>
                <a:gd name="T17" fmla="*/ 651738376 h 159"/>
                <a:gd name="T18" fmla="*/ 583830971 w 122"/>
                <a:gd name="T19" fmla="*/ 56671920 h 159"/>
                <a:gd name="T20" fmla="*/ 270557105 w 122"/>
                <a:gd name="T21" fmla="*/ 1133460990 h 159"/>
                <a:gd name="T22" fmla="*/ 583830971 w 122"/>
                <a:gd name="T23" fmla="*/ 1926882931 h 159"/>
                <a:gd name="T24" fmla="*/ 1096466081 w 122"/>
                <a:gd name="T25" fmla="*/ 1983558615 h 159"/>
                <a:gd name="T26" fmla="*/ 1480939583 w 122"/>
                <a:gd name="T27" fmla="*/ 1034285130 h 159"/>
                <a:gd name="T28" fmla="*/ 1124945180 w 122"/>
                <a:gd name="T29" fmla="*/ 765085980 h 159"/>
                <a:gd name="T30" fmla="*/ 270557105 w 122"/>
                <a:gd name="T31" fmla="*/ 1133460990 h 15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2"/>
                <a:gd name="T49" fmla="*/ 0 h 159"/>
                <a:gd name="T50" fmla="*/ 122 w 122"/>
                <a:gd name="T51" fmla="*/ 159 h 15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2" h="159">
                  <a:moveTo>
                    <a:pt x="41" y="4"/>
                  </a:moveTo>
                  <a:cubicBezTo>
                    <a:pt x="59" y="0"/>
                    <a:pt x="80" y="2"/>
                    <a:pt x="97" y="12"/>
                  </a:cubicBezTo>
                  <a:cubicBezTo>
                    <a:pt x="112" y="22"/>
                    <a:pt x="121" y="40"/>
                    <a:pt x="120" y="58"/>
                  </a:cubicBezTo>
                  <a:cubicBezTo>
                    <a:pt x="119" y="70"/>
                    <a:pt x="122" y="82"/>
                    <a:pt x="121" y="94"/>
                  </a:cubicBezTo>
                  <a:cubicBezTo>
                    <a:pt x="117" y="106"/>
                    <a:pt x="108" y="115"/>
                    <a:pt x="103" y="126"/>
                  </a:cubicBezTo>
                  <a:cubicBezTo>
                    <a:pt x="96" y="142"/>
                    <a:pt x="82" y="157"/>
                    <a:pt x="63" y="157"/>
                  </a:cubicBezTo>
                  <a:cubicBezTo>
                    <a:pt x="43" y="159"/>
                    <a:pt x="27" y="143"/>
                    <a:pt x="19" y="126"/>
                  </a:cubicBezTo>
                  <a:cubicBezTo>
                    <a:pt x="14" y="115"/>
                    <a:pt x="5" y="105"/>
                    <a:pt x="1" y="94"/>
                  </a:cubicBezTo>
                  <a:cubicBezTo>
                    <a:pt x="1" y="78"/>
                    <a:pt x="0" y="62"/>
                    <a:pt x="3" y="46"/>
                  </a:cubicBezTo>
                  <a:cubicBezTo>
                    <a:pt x="7" y="27"/>
                    <a:pt x="21" y="9"/>
                    <a:pt x="41" y="4"/>
                  </a:cubicBezTo>
                  <a:close/>
                  <a:moveTo>
                    <a:pt x="19" y="80"/>
                  </a:moveTo>
                  <a:cubicBezTo>
                    <a:pt x="22" y="100"/>
                    <a:pt x="27" y="121"/>
                    <a:pt x="41" y="136"/>
                  </a:cubicBezTo>
                  <a:cubicBezTo>
                    <a:pt x="50" y="145"/>
                    <a:pt x="66" y="148"/>
                    <a:pt x="77" y="140"/>
                  </a:cubicBezTo>
                  <a:cubicBezTo>
                    <a:pt x="97" y="124"/>
                    <a:pt x="101" y="97"/>
                    <a:pt x="104" y="73"/>
                  </a:cubicBezTo>
                  <a:cubicBezTo>
                    <a:pt x="95" y="68"/>
                    <a:pt x="86" y="62"/>
                    <a:pt x="79" y="54"/>
                  </a:cubicBezTo>
                  <a:cubicBezTo>
                    <a:pt x="62" y="69"/>
                    <a:pt x="41" y="78"/>
                    <a:pt x="19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lIns="96770" tIns="48385" rIns="96770" bIns="48385"/>
            <a:lstStyle/>
            <a:p>
              <a:pPr marL="0" marR="0" lvl="0" indent="0" algn="l" defTabSz="12902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54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49" name="Freeform 8">
              <a:extLst>
                <a:ext uri="{FF2B5EF4-FFF2-40B4-BE49-F238E27FC236}">
                  <a16:creationId xmlns:a16="http://schemas.microsoft.com/office/drawing/2014/main" id="{8D3ED0B3-684B-4784-BC2F-AF450F0D48D1}"/>
                </a:ext>
              </a:extLst>
            </p:cNvPr>
            <p:cNvSpPr>
              <a:spLocks noEditPoints="1" noChangeArrowheads="1"/>
            </p:cNvSpPr>
            <p:nvPr/>
          </p:nvSpPr>
          <p:spPr bwMode="auto">
            <a:xfrm>
              <a:off x="0" y="557213"/>
              <a:ext cx="1009650" cy="582613"/>
            </a:xfrm>
            <a:custGeom>
              <a:avLst/>
              <a:gdLst>
                <a:gd name="T0" fmla="*/ 723839936 w 268"/>
                <a:gd name="T1" fmla="*/ 240183149 h 155"/>
                <a:gd name="T2" fmla="*/ 1305748699 w 268"/>
                <a:gd name="T3" fmla="*/ 0 h 155"/>
                <a:gd name="T4" fmla="*/ 1390905896 w 268"/>
                <a:gd name="T5" fmla="*/ 141285532 h 155"/>
                <a:gd name="T6" fmla="*/ 1263170101 w 268"/>
                <a:gd name="T7" fmla="*/ 226057603 h 155"/>
                <a:gd name="T8" fmla="*/ 1731538448 w 268"/>
                <a:gd name="T9" fmla="*/ 1836708156 h 155"/>
                <a:gd name="T10" fmla="*/ 1802504034 w 268"/>
                <a:gd name="T11" fmla="*/ 777070425 h 155"/>
                <a:gd name="T12" fmla="*/ 2015397025 w 268"/>
                <a:gd name="T13" fmla="*/ 762941120 h 155"/>
                <a:gd name="T14" fmla="*/ 2072167233 w 268"/>
                <a:gd name="T15" fmla="*/ 1836708156 h 155"/>
                <a:gd name="T16" fmla="*/ 2147483646 w 268"/>
                <a:gd name="T17" fmla="*/ 226057603 h 155"/>
                <a:gd name="T18" fmla="*/ 2147483646 w 268"/>
                <a:gd name="T19" fmla="*/ 14129305 h 155"/>
                <a:gd name="T20" fmla="*/ 2147483646 w 268"/>
                <a:gd name="T21" fmla="*/ 494499362 h 155"/>
                <a:gd name="T22" fmla="*/ 2147483646 w 268"/>
                <a:gd name="T23" fmla="*/ 1610650553 h 155"/>
                <a:gd name="T24" fmla="*/ 2147483646 w 268"/>
                <a:gd name="T25" fmla="*/ 1879096071 h 155"/>
                <a:gd name="T26" fmla="*/ 1759921668 w 268"/>
                <a:gd name="T27" fmla="*/ 2147483646 h 155"/>
                <a:gd name="T28" fmla="*/ 709648325 w 268"/>
                <a:gd name="T29" fmla="*/ 1879096071 h 155"/>
                <a:gd name="T30" fmla="*/ 42578598 w 268"/>
                <a:gd name="T31" fmla="*/ 1554137092 h 155"/>
                <a:gd name="T32" fmla="*/ 723839936 w 268"/>
                <a:gd name="T33" fmla="*/ 240183149 h 155"/>
                <a:gd name="T34" fmla="*/ 2147483646 w 268"/>
                <a:gd name="T35" fmla="*/ 1511752936 h 155"/>
                <a:gd name="T36" fmla="*/ 2147483646 w 268"/>
                <a:gd name="T37" fmla="*/ 1596525007 h 155"/>
                <a:gd name="T38" fmla="*/ 2147483646 w 268"/>
                <a:gd name="T39" fmla="*/ 1540007787 h 155"/>
                <a:gd name="T40" fmla="*/ 2147483646 w 268"/>
                <a:gd name="T41" fmla="*/ 1412851560 h 155"/>
                <a:gd name="T42" fmla="*/ 2147483646 w 268"/>
                <a:gd name="T43" fmla="*/ 1511752936 h 1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68"/>
                <a:gd name="T67" fmla="*/ 0 h 155"/>
                <a:gd name="T68" fmla="*/ 268 w 268"/>
                <a:gd name="T69" fmla="*/ 155 h 15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68" h="155">
                  <a:moveTo>
                    <a:pt x="51" y="17"/>
                  </a:moveTo>
                  <a:cubicBezTo>
                    <a:pt x="64" y="9"/>
                    <a:pt x="78" y="6"/>
                    <a:pt x="92" y="0"/>
                  </a:cubicBezTo>
                  <a:cubicBezTo>
                    <a:pt x="94" y="3"/>
                    <a:pt x="96" y="8"/>
                    <a:pt x="98" y="10"/>
                  </a:cubicBezTo>
                  <a:cubicBezTo>
                    <a:pt x="95" y="12"/>
                    <a:pt x="91" y="15"/>
                    <a:pt x="89" y="16"/>
                  </a:cubicBezTo>
                  <a:cubicBezTo>
                    <a:pt x="100" y="54"/>
                    <a:pt x="112" y="92"/>
                    <a:pt x="122" y="130"/>
                  </a:cubicBezTo>
                  <a:cubicBezTo>
                    <a:pt x="124" y="105"/>
                    <a:pt x="126" y="80"/>
                    <a:pt x="127" y="55"/>
                  </a:cubicBezTo>
                  <a:cubicBezTo>
                    <a:pt x="132" y="54"/>
                    <a:pt x="137" y="54"/>
                    <a:pt x="142" y="54"/>
                  </a:cubicBezTo>
                  <a:cubicBezTo>
                    <a:pt x="142" y="80"/>
                    <a:pt x="144" y="105"/>
                    <a:pt x="146" y="130"/>
                  </a:cubicBezTo>
                  <a:cubicBezTo>
                    <a:pt x="157" y="92"/>
                    <a:pt x="170" y="54"/>
                    <a:pt x="180" y="16"/>
                  </a:cubicBezTo>
                  <a:cubicBezTo>
                    <a:pt x="170" y="14"/>
                    <a:pt x="172" y="7"/>
                    <a:pt x="175" y="1"/>
                  </a:cubicBezTo>
                  <a:cubicBezTo>
                    <a:pt x="199" y="7"/>
                    <a:pt x="223" y="16"/>
                    <a:pt x="239" y="35"/>
                  </a:cubicBezTo>
                  <a:cubicBezTo>
                    <a:pt x="259" y="56"/>
                    <a:pt x="268" y="86"/>
                    <a:pt x="265" y="114"/>
                  </a:cubicBezTo>
                  <a:cubicBezTo>
                    <a:pt x="256" y="130"/>
                    <a:pt x="236" y="132"/>
                    <a:pt x="220" y="133"/>
                  </a:cubicBezTo>
                  <a:cubicBezTo>
                    <a:pt x="191" y="151"/>
                    <a:pt x="157" y="155"/>
                    <a:pt x="124" y="154"/>
                  </a:cubicBezTo>
                  <a:cubicBezTo>
                    <a:pt x="98" y="153"/>
                    <a:pt x="71" y="149"/>
                    <a:pt x="50" y="133"/>
                  </a:cubicBezTo>
                  <a:cubicBezTo>
                    <a:pt x="32" y="132"/>
                    <a:pt x="9" y="130"/>
                    <a:pt x="3" y="110"/>
                  </a:cubicBezTo>
                  <a:cubicBezTo>
                    <a:pt x="0" y="73"/>
                    <a:pt x="19" y="36"/>
                    <a:pt x="51" y="17"/>
                  </a:cubicBezTo>
                  <a:close/>
                  <a:moveTo>
                    <a:pt x="167" y="107"/>
                  </a:moveTo>
                  <a:cubicBezTo>
                    <a:pt x="168" y="109"/>
                    <a:pt x="169" y="111"/>
                    <a:pt x="170" y="113"/>
                  </a:cubicBezTo>
                  <a:cubicBezTo>
                    <a:pt x="182" y="114"/>
                    <a:pt x="194" y="112"/>
                    <a:pt x="205" y="109"/>
                  </a:cubicBezTo>
                  <a:cubicBezTo>
                    <a:pt x="210" y="108"/>
                    <a:pt x="212" y="104"/>
                    <a:pt x="213" y="100"/>
                  </a:cubicBezTo>
                  <a:cubicBezTo>
                    <a:pt x="198" y="105"/>
                    <a:pt x="182" y="107"/>
                    <a:pt x="167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lIns="96770" tIns="48385" rIns="96770" bIns="48385"/>
            <a:lstStyle/>
            <a:p>
              <a:pPr marL="0" marR="0" lvl="0" indent="0" algn="l" defTabSz="12902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54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 panose="02010609060101010101" pitchFamily="49" charset="-122"/>
                <a:cs typeface="+mn-cs"/>
              </a:endParaRPr>
            </a:p>
          </p:txBody>
        </p:sp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4CC8482C-48B1-40FF-AEBD-6D7A129314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675" y="654050"/>
              <a:ext cx="117475" cy="87313"/>
            </a:xfrm>
            <a:custGeom>
              <a:avLst/>
              <a:gdLst>
                <a:gd name="T0" fmla="*/ 57441485 w 31"/>
                <a:gd name="T1" fmla="*/ 43235120 h 23"/>
                <a:gd name="T2" fmla="*/ 373369656 w 31"/>
                <a:gd name="T3" fmla="*/ 43235120 h 23"/>
                <a:gd name="T4" fmla="*/ 344648913 w 31"/>
                <a:gd name="T5" fmla="*/ 331459129 h 23"/>
                <a:gd name="T6" fmla="*/ 86162228 w 31"/>
                <a:gd name="T7" fmla="*/ 331459129 h 23"/>
                <a:gd name="T8" fmla="*/ 57441485 w 31"/>
                <a:gd name="T9" fmla="*/ 43235120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23"/>
                <a:gd name="T17" fmla="*/ 31 w 31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23">
                  <a:moveTo>
                    <a:pt x="4" y="3"/>
                  </a:moveTo>
                  <a:cubicBezTo>
                    <a:pt x="11" y="1"/>
                    <a:pt x="19" y="0"/>
                    <a:pt x="26" y="3"/>
                  </a:cubicBezTo>
                  <a:cubicBezTo>
                    <a:pt x="31" y="10"/>
                    <a:pt x="27" y="16"/>
                    <a:pt x="24" y="23"/>
                  </a:cubicBezTo>
                  <a:cubicBezTo>
                    <a:pt x="18" y="23"/>
                    <a:pt x="12" y="23"/>
                    <a:pt x="6" y="23"/>
                  </a:cubicBezTo>
                  <a:cubicBezTo>
                    <a:pt x="3" y="16"/>
                    <a:pt x="0" y="9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cmpd="sng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lIns="96770" tIns="48385" rIns="96770" bIns="48385"/>
            <a:lstStyle/>
            <a:p>
              <a:pPr marL="0" marR="0" lvl="0" indent="0" algn="l" defTabSz="12902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254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黑体" panose="02010609060101010101" pitchFamily="49" charset="-122"/>
                <a:cs typeface="+mn-cs"/>
              </a:endParaRPr>
            </a:p>
          </p:txBody>
        </p:sp>
      </p:grpSp>
      <p:pic>
        <p:nvPicPr>
          <p:cNvPr id="60" name="Graphic 59" descr="Daily calendar with solid fill">
            <a:extLst>
              <a:ext uri="{FF2B5EF4-FFF2-40B4-BE49-F238E27FC236}">
                <a16:creationId xmlns:a16="http://schemas.microsoft.com/office/drawing/2014/main" id="{A37B7C66-4D94-49B2-B481-7E41EFBED81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372673" y="4297374"/>
            <a:ext cx="344469" cy="468000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5FE24174-1B6D-4013-900E-D9FE716E646C}"/>
              </a:ext>
            </a:extLst>
          </p:cNvPr>
          <p:cNvSpPr txBox="1"/>
          <p:nvPr/>
        </p:nvSpPr>
        <p:spPr>
          <a:xfrm>
            <a:off x="2749979" y="4811076"/>
            <a:ext cx="1774887" cy="11798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6771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Flexible Time Views: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Year</a:t>
            </a: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Quarter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Month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255C83-CCC6-4D5C-BCB9-345A7E54680E}"/>
              </a:ext>
            </a:extLst>
          </p:cNvPr>
          <p:cNvSpPr txBox="1"/>
          <p:nvPr/>
        </p:nvSpPr>
        <p:spPr>
          <a:xfrm>
            <a:off x="9488503" y="4811076"/>
            <a:ext cx="1861369" cy="12022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6771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Interactive Navigation: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414141">
                  <a:lumMod val="50000"/>
                </a:srgbClr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Drill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hrough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Navigat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betwee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h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view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Back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butto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pic>
        <p:nvPicPr>
          <p:cNvPr id="73" name="Graphic 72" descr="Double Tap Gesture with solid fill">
            <a:extLst>
              <a:ext uri="{FF2B5EF4-FFF2-40B4-BE49-F238E27FC236}">
                <a16:creationId xmlns:a16="http://schemas.microsoft.com/office/drawing/2014/main" id="{E8EA306D-F49B-4894-9A44-3C976AF2741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059887" y="4297374"/>
            <a:ext cx="411012" cy="468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51F875BF-6C45-4A20-B2DA-5286F870396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7688" y="1807153"/>
            <a:ext cx="199463" cy="199463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407EBCC0-CB6A-4321-9990-322D41581C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763" y="1553145"/>
            <a:ext cx="2007800" cy="888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6F350E4-D23E-43D1-9670-5CB20E280EE9}"/>
              </a:ext>
            </a:extLst>
          </p:cNvPr>
          <p:cNvGrpSpPr/>
          <p:nvPr/>
        </p:nvGrpSpPr>
        <p:grpSpPr>
          <a:xfrm>
            <a:off x="647515" y="2315283"/>
            <a:ext cx="2160000" cy="1080000"/>
            <a:chOff x="1720237" y="2137887"/>
            <a:chExt cx="2160000" cy="1080000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3B438D26-2FFE-4FAF-82ED-9810B17F39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866"/>
            <a:stretch/>
          </p:blipFill>
          <p:spPr>
            <a:xfrm>
              <a:off x="1720237" y="2137887"/>
              <a:ext cx="2160000" cy="1080000"/>
            </a:xfrm>
            <a:prstGeom prst="rect">
              <a:avLst/>
            </a:prstGeom>
          </p:spPr>
        </p:pic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122DC77B-9707-4554-943F-D0C2042797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5196" y="2223149"/>
              <a:ext cx="1983827" cy="908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365628B4-54D0-4894-805C-4099545141A6}"/>
              </a:ext>
            </a:extLst>
          </p:cNvPr>
          <p:cNvSpPr txBox="1"/>
          <p:nvPr/>
        </p:nvSpPr>
        <p:spPr>
          <a:xfrm>
            <a:off x="479424" y="6364288"/>
            <a:ext cx="9974901" cy="3048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3781">
                    <a:lumMod val="50000"/>
                  </a:srgbClr>
                </a:solidFill>
                <a:effectLst/>
                <a:uLnTx/>
                <a:uFillTx/>
                <a:latin typeface="Allianz Neo PPT" panose="020B0604020202020204" charset="0"/>
                <a:ea typeface="+mn-ea"/>
                <a:cs typeface="+mn-cs"/>
              </a:rPr>
              <a:t>1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way forward of best fitting setup to be clarified with AZ Tech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781">
                  <a:lumMod val="50000"/>
                </a:srgbClr>
              </a:solidFill>
              <a:effectLst/>
              <a:uLnTx/>
              <a:uFillTx/>
              <a:latin typeface="Allianz Neo PPT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93455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ACC7CDC-4AC0-5147-A00F-5B7A09A6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7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ACC7CDC-4AC0-5147-A00F-5B7A09A6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93" y="1587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3F567CF-62A7-47C0-AC24-632C92F5B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2" y="515819"/>
            <a:ext cx="10674352" cy="467227"/>
          </a:xfrm>
        </p:spPr>
        <p:txBody>
          <a:bodyPr vert="horz"/>
          <a:lstStyle/>
          <a:p>
            <a:r>
              <a:rPr lang="en-GB" sz="2800" cap="all" dirty="0">
                <a:solidFill>
                  <a:srgbClr val="006192"/>
                </a:solidFill>
                <a:latin typeface="Allianz Neo" panose="020B0504020203020204" pitchFamily="34" charset="0"/>
              </a:rPr>
              <a:t>Claims </a:t>
            </a:r>
            <a:r>
              <a:rPr lang="en-GB" sz="2800" cap="all" dirty="0" err="1">
                <a:solidFill>
                  <a:srgbClr val="006192"/>
                </a:solidFill>
                <a:latin typeface="Allianz Neo" panose="020B0504020203020204" pitchFamily="34" charset="0"/>
              </a:rPr>
              <a:t>SeveritY</a:t>
            </a:r>
            <a:r>
              <a:rPr lang="en-GB" sz="2800" cap="all" dirty="0">
                <a:solidFill>
                  <a:srgbClr val="006192"/>
                </a:solidFill>
                <a:latin typeface="Allianz Neo" panose="020B0504020203020204" pitchFamily="34" charset="0"/>
              </a:rPr>
              <a:t>: ARCHITECTURE VIEW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7A42156-BA88-44BB-9F36-16A994B31A3F}"/>
              </a:ext>
            </a:extLst>
          </p:cNvPr>
          <p:cNvSpPr/>
          <p:nvPr/>
        </p:nvSpPr>
        <p:spPr>
          <a:xfrm>
            <a:off x="479425" y="123825"/>
            <a:ext cx="288000" cy="288000"/>
          </a:xfrm>
          <a:prstGeom prst="ellipse">
            <a:avLst/>
          </a:prstGeom>
          <a:solidFill>
            <a:srgbClr val="006192"/>
          </a:solidFill>
          <a:ln w="2540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9C97C4-FBDA-4FA9-8AFE-F9D1C105C551}"/>
              </a:ext>
            </a:extLst>
          </p:cNvPr>
          <p:cNvSpPr txBox="1"/>
          <p:nvPr/>
        </p:nvSpPr>
        <p:spPr>
          <a:xfrm>
            <a:off x="771525" y="133350"/>
            <a:ext cx="3552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Claims Severity: Architecture View</a:t>
            </a:r>
          </a:p>
        </p:txBody>
      </p:sp>
      <p:pic>
        <p:nvPicPr>
          <p:cNvPr id="8" name="Picture 7" descr="A picture containing diagram&#10;&#10;Description automatically generated">
            <a:extLst>
              <a:ext uri="{FF2B5EF4-FFF2-40B4-BE49-F238E27FC236}">
                <a16:creationId xmlns:a16="http://schemas.microsoft.com/office/drawing/2014/main" id="{A2C3BD8E-13BC-4619-8FE4-7A2D62AACD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41" y="1566806"/>
            <a:ext cx="11681717" cy="4775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592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ACC7CDC-4AC0-5147-A00F-5B7A09A6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7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ACC7CDC-4AC0-5147-A00F-5B7A09A6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93" y="1587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3F567CF-62A7-47C0-AC24-632C92F5B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2" y="515819"/>
            <a:ext cx="10674352" cy="467227"/>
          </a:xfrm>
        </p:spPr>
        <p:txBody>
          <a:bodyPr vert="horz"/>
          <a:lstStyle/>
          <a:p>
            <a:r>
              <a:rPr lang="en-GB" sz="2800" cap="all" dirty="0">
                <a:solidFill>
                  <a:srgbClr val="006192"/>
                </a:solidFill>
                <a:latin typeface="Allianz Neo" panose="020B0504020203020204" pitchFamily="34" charset="0"/>
              </a:rPr>
              <a:t>Claims </a:t>
            </a:r>
            <a:r>
              <a:rPr lang="en-GB" sz="2800" cap="all" dirty="0" err="1">
                <a:solidFill>
                  <a:srgbClr val="006192"/>
                </a:solidFill>
                <a:latin typeface="Allianz Neo" panose="020B0504020203020204" pitchFamily="34" charset="0"/>
              </a:rPr>
              <a:t>SeveritY</a:t>
            </a:r>
            <a:r>
              <a:rPr lang="en-GB" sz="2800" cap="all" dirty="0">
                <a:solidFill>
                  <a:srgbClr val="006192"/>
                </a:solidFill>
                <a:latin typeface="Allianz Neo" panose="020B0504020203020204" pitchFamily="34" charset="0"/>
              </a:rPr>
              <a:t>: ADOIT </a:t>
            </a:r>
            <a:r>
              <a:rPr lang="en-GB" sz="2800" cap="all" dirty="0" err="1">
                <a:solidFill>
                  <a:srgbClr val="006192"/>
                </a:solidFill>
                <a:latin typeface="Allianz Neo" panose="020B0504020203020204" pitchFamily="34" charset="0"/>
              </a:rPr>
              <a:t>MODEl</a:t>
            </a:r>
            <a:endParaRPr lang="en-GB" sz="2800" cap="all" dirty="0">
              <a:solidFill>
                <a:srgbClr val="006192"/>
              </a:solidFill>
              <a:latin typeface="Allianz Neo" panose="020B0504020203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7A42156-BA88-44BB-9F36-16A994B31A3F}"/>
              </a:ext>
            </a:extLst>
          </p:cNvPr>
          <p:cNvSpPr/>
          <p:nvPr/>
        </p:nvSpPr>
        <p:spPr>
          <a:xfrm>
            <a:off x="479425" y="123825"/>
            <a:ext cx="288000" cy="288000"/>
          </a:xfrm>
          <a:prstGeom prst="ellipse">
            <a:avLst/>
          </a:prstGeom>
          <a:solidFill>
            <a:srgbClr val="006192"/>
          </a:solidFill>
          <a:ln w="2540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9C97C4-FBDA-4FA9-8AFE-F9D1C105C551}"/>
              </a:ext>
            </a:extLst>
          </p:cNvPr>
          <p:cNvSpPr txBox="1"/>
          <p:nvPr/>
        </p:nvSpPr>
        <p:spPr>
          <a:xfrm>
            <a:off x="771525" y="133350"/>
            <a:ext cx="35528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Claims Severity: Architecture View</a:t>
            </a:r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8D0CE189-AB19-4FA6-86D3-37CD5A0C721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89"/>
          <a:stretch/>
        </p:blipFill>
        <p:spPr>
          <a:xfrm>
            <a:off x="479424" y="1087040"/>
            <a:ext cx="6804953" cy="5624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3328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ACC7CDC-4AC0-5147-A00F-5B7A09A6B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3" y="1587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ACC7CDC-4AC0-5147-A00F-5B7A09A6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93" y="1587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3F567CF-62A7-47C0-AC24-632C92F5B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2" y="515819"/>
            <a:ext cx="10674352" cy="467227"/>
          </a:xfrm>
        </p:spPr>
        <p:txBody>
          <a:bodyPr vert="horz"/>
          <a:lstStyle/>
          <a:p>
            <a:r>
              <a:rPr lang="en-GB" sz="2800" cap="all" dirty="0">
                <a:solidFill>
                  <a:srgbClr val="006192"/>
                </a:solidFill>
                <a:latin typeface="Allianz Neo" panose="020B0504020203020204" pitchFamily="34" charset="0"/>
              </a:rPr>
              <a:t>CLAIMS: Confluence Link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7A42156-BA88-44BB-9F36-16A994B31A3F}"/>
              </a:ext>
            </a:extLst>
          </p:cNvPr>
          <p:cNvSpPr/>
          <p:nvPr/>
        </p:nvSpPr>
        <p:spPr>
          <a:xfrm>
            <a:off x="479425" y="123825"/>
            <a:ext cx="288000" cy="288000"/>
          </a:xfrm>
          <a:prstGeom prst="ellipse">
            <a:avLst/>
          </a:prstGeom>
          <a:solidFill>
            <a:srgbClr val="006192"/>
          </a:solidFill>
          <a:ln w="25400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2F16B3-16F7-45CD-BC5D-40A961043E6D}"/>
              </a:ext>
            </a:extLst>
          </p:cNvPr>
          <p:cNvSpPr txBox="1"/>
          <p:nvPr/>
        </p:nvSpPr>
        <p:spPr>
          <a:xfrm>
            <a:off x="407506" y="1988520"/>
            <a:ext cx="87467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7"/>
              </a:rPr>
              <a:t>02_Claims Severity/Inflation - Global Data Warehouse (GDW) - JMP Confluence (allianz.ne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640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undingBox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er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Box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onnectorRectang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Ov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orizontalLin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orizontalLine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orizontalLine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orizontalLine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2"/>
  <p:tag name="ISFLAT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.If7E_v9SSmqj_FsUVW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Fs5tbInZ43nY11LeT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VBGdEKYj6cJvc0..dXD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zWPhDvyeGUCkFU.A8R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dPTOxOI7ik0ssI.e61U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Dry8KPQZ.YTDWTpPamL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Allianz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llianzNeoPPT Fonts">
      <a:majorFont>
        <a:latin typeface="Allianz Neo PPT"/>
        <a:ea typeface=""/>
        <a:cs typeface=""/>
      </a:majorFont>
      <a:minorFont>
        <a:latin typeface="Allianz Neo PP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72000" rIns="72000" bIns="72000"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algn="l">
          <a:spcAft>
            <a:spcPts val="600"/>
          </a:spcAft>
          <a:defRPr sz="12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2.xml><?xml version="1.0" encoding="utf-8"?>
<a:theme xmlns:a="http://schemas.openxmlformats.org/drawingml/2006/main" name="2_EN_AVG937_16x9_CF7">
  <a:themeElements>
    <a:clrScheme name="Custom 13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C1EBFB"/>
      </a:accent1>
      <a:accent2>
        <a:srgbClr val="96DCFA"/>
      </a:accent2>
      <a:accent3>
        <a:srgbClr val="49648C"/>
      </a:accent3>
      <a:accent4>
        <a:srgbClr val="003781"/>
      </a:accent4>
      <a:accent5>
        <a:srgbClr val="FF934F"/>
      </a:accent5>
      <a:accent6>
        <a:srgbClr val="808080"/>
      </a:accent6>
      <a:hlink>
        <a:srgbClr val="003781"/>
      </a:hlink>
      <a:folHlink>
        <a:srgbClr val="5A3982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49648C"/>
        </a:dk2>
        <a:lt2>
          <a:srgbClr val="D4CDCD"/>
        </a:lt2>
        <a:accent1>
          <a:srgbClr val="96DCFA"/>
        </a:accent1>
        <a:accent2>
          <a:srgbClr val="CCDD61"/>
        </a:accent2>
        <a:accent3>
          <a:srgbClr val="EECCD5"/>
        </a:accent3>
        <a:accent4>
          <a:srgbClr val="FDD25C"/>
        </a:accent4>
        <a:accent5>
          <a:srgbClr val="FF934F"/>
        </a:accent5>
        <a:accent6>
          <a:srgbClr val="808080"/>
        </a:accent6>
        <a:hlink>
          <a:srgbClr val="003781"/>
        </a:hlink>
        <a:folHlink>
          <a:srgbClr val="5A398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rgb(193,235,251)">
      <a:srgbClr val="C1EBFB"/>
    </a:custClr>
    <a:custClr name="rgb(0,55,129)">
      <a:srgbClr val="003781"/>
    </a:custClr>
    <a:custClr name="rgb(232,232,232)">
      <a:srgbClr val="E8E8E8"/>
    </a:custClr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  <a:extLst>
    <a:ext uri="{05A4C25C-085E-4340-85A3-A5531E510DB2}">
      <thm15:themeFamily xmlns:thm15="http://schemas.microsoft.com/office/thememl/2012/main" name="EN_AVG937_16x9_CF7.potx" id="{F3256FBB-C72A-40C3-9F01-D94DBAD36EF2}" vid="{22346C46-61A3-4B26-A53A-FDD544749D96}"/>
    </a:ext>
  </a:extLst>
</a:theme>
</file>

<file path=ppt/theme/theme3.xml><?xml version="1.0" encoding="utf-8"?>
<a:theme xmlns:a="http://schemas.openxmlformats.org/drawingml/2006/main" name="7_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Allianz_PPT_Master.potx" id="{59612F79-7057-41F4-AF53-A6D5B852C60A}" vid="{079DFE2F-9B25-424A-9532-D41C60DA555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9</TotalTime>
  <Words>743</Words>
  <Application>Microsoft Office PowerPoint</Application>
  <PresentationFormat>Widescreen</PresentationFormat>
  <Paragraphs>145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Allianz Neo</vt:lpstr>
      <vt:lpstr>Allianz Neo PPT</vt:lpstr>
      <vt:lpstr>-apple-system</vt:lpstr>
      <vt:lpstr>Arial</vt:lpstr>
      <vt:lpstr>Calibri</vt:lpstr>
      <vt:lpstr>Segoe UI</vt:lpstr>
      <vt:lpstr>Symbol</vt:lpstr>
      <vt:lpstr>Wingdings</vt:lpstr>
      <vt:lpstr>Allianz white</vt:lpstr>
      <vt:lpstr>2_EN_AVG937_16x9_CF7</vt:lpstr>
      <vt:lpstr>7_Content charts white</vt:lpstr>
      <vt:lpstr>think-cell Slide</vt:lpstr>
      <vt:lpstr>Claims MIS/Inflation</vt:lpstr>
      <vt:lpstr>Claims MIS</vt:lpstr>
      <vt:lpstr>WHY : GOAL &amp; VISION OF CLAIMS MIS in a nutshell</vt:lpstr>
      <vt:lpstr>Claims MIS: ARCHITECTURE VIEW</vt:lpstr>
      <vt:lpstr>Claims Severity</vt:lpstr>
      <vt:lpstr>WHAT’S IN THE BOX: Claims Inflation Dashboard at a Glance  </vt:lpstr>
      <vt:lpstr>Claims SeveritY: ARCHITECTURE VIEW</vt:lpstr>
      <vt:lpstr>Claims SeveritY: ADOIT MODEl</vt:lpstr>
      <vt:lpstr>CLAIMS: Confluence Link</vt:lpstr>
      <vt:lpstr>CIM Format</vt:lpstr>
      <vt:lpstr>Data Vault Methodology</vt:lpstr>
      <vt:lpstr>Common Ingestion Model (CIM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ims MIS/Inflation</dc:title>
  <dc:creator>Mehra, Rahul</dc:creator>
  <cp:lastModifiedBy>Mehra, Rahul</cp:lastModifiedBy>
  <cp:revision>5</cp:revision>
  <dcterms:created xsi:type="dcterms:W3CDTF">2023-01-12T07:28:40Z</dcterms:created>
  <dcterms:modified xsi:type="dcterms:W3CDTF">2023-01-12T11:4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63bc15e-e7bf-41c1-bdb3-03882d8a2e2c_Enabled">
    <vt:lpwstr>true</vt:lpwstr>
  </property>
  <property fmtid="{D5CDD505-2E9C-101B-9397-08002B2CF9AE}" pid="3" name="MSIP_Label_863bc15e-e7bf-41c1-bdb3-03882d8a2e2c_SetDate">
    <vt:lpwstr>2023-01-12T11:48:25Z</vt:lpwstr>
  </property>
  <property fmtid="{D5CDD505-2E9C-101B-9397-08002B2CF9AE}" pid="4" name="MSIP_Label_863bc15e-e7bf-41c1-bdb3-03882d8a2e2c_Method">
    <vt:lpwstr>Privileged</vt:lpwstr>
  </property>
  <property fmtid="{D5CDD505-2E9C-101B-9397-08002B2CF9AE}" pid="5" name="MSIP_Label_863bc15e-e7bf-41c1-bdb3-03882d8a2e2c_Name">
    <vt:lpwstr>863bc15e-e7bf-41c1-bdb3-03882d8a2e2c</vt:lpwstr>
  </property>
  <property fmtid="{D5CDD505-2E9C-101B-9397-08002B2CF9AE}" pid="6" name="MSIP_Label_863bc15e-e7bf-41c1-bdb3-03882d8a2e2c_SiteId">
    <vt:lpwstr>6e06e42d-6925-47c6-b9e7-9581c7ca302a</vt:lpwstr>
  </property>
  <property fmtid="{D5CDD505-2E9C-101B-9397-08002B2CF9AE}" pid="7" name="MSIP_Label_863bc15e-e7bf-41c1-bdb3-03882d8a2e2c_ActionId">
    <vt:lpwstr>c4599835-6c63-4d2a-a5e3-36fe94d4ee36</vt:lpwstr>
  </property>
  <property fmtid="{D5CDD505-2E9C-101B-9397-08002B2CF9AE}" pid="8" name="MSIP_Label_863bc15e-e7bf-41c1-bdb3-03882d8a2e2c_ContentBits">
    <vt:lpwstr>1</vt:lpwstr>
  </property>
</Properties>
</file>